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xml" ContentType="application/xml"/>
  <Default Extension="fntdata" ContentType="application/x-fontdata"/>
  <Default Extension="wdp" ContentType="image/vnd.ms-photo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3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75" r:id="rId1"/>
  </p:sldMasterIdLst>
  <p:notesMasterIdLst>
    <p:notesMasterId r:id="rId13"/>
  </p:notesMasterIdLst>
  <p:sldIdLst>
    <p:sldId id="288" r:id="rId2"/>
    <p:sldId id="258" r:id="rId3"/>
    <p:sldId id="260" r:id="rId4"/>
    <p:sldId id="257" r:id="rId5"/>
    <p:sldId id="262" r:id="rId6"/>
    <p:sldId id="289" r:id="rId7"/>
    <p:sldId id="263" r:id="rId8"/>
    <p:sldId id="290" r:id="rId9"/>
    <p:sldId id="291" r:id="rId10"/>
    <p:sldId id="293" r:id="rId11"/>
    <p:sldId id="287" r:id="rId12"/>
  </p:sldIdLst>
  <p:sldSz cx="9144000" cy="5143500" type="screen16x9"/>
  <p:notesSz cx="6858000" cy="9144000"/>
  <p:embeddedFontLst>
    <p:embeddedFont>
      <p:font typeface="Bodoni" panose="020B0604020202020204" charset="0"/>
      <p:regular r:id="rId14"/>
      <p:bold r:id="rId15"/>
      <p:italic r:id="rId16"/>
      <p:boldItalic r:id="rId17"/>
    </p:embeddedFont>
    <p:embeddedFont>
      <p:font typeface="Arvo" panose="020B0604020202020204" charset="0"/>
      <p:regular r:id="rId18"/>
      <p:bold r:id="rId19"/>
      <p:italic r:id="rId20"/>
      <p:boldItalic r:id="rId21"/>
    </p:embeddedFont>
    <p:embeddedFont>
      <p:font typeface="Ubuntu Light" panose="020B0604020202020204" charset="0"/>
      <p:regular r:id="rId22"/>
      <p:bold r:id="rId23"/>
      <p:italic r:id="rId24"/>
      <p:boldItalic r:id="rId25"/>
    </p:embeddedFont>
    <p:embeddedFont>
      <p:font typeface="Ubuntu" panose="020B0604020202020204" charset="0"/>
      <p:regular r:id="rId26"/>
      <p:bold r:id="rId27"/>
      <p:italic r:id="rId28"/>
      <p:boldItalic r:id="rId29"/>
    </p:embeddedFont>
    <p:embeddedFont>
      <p:font typeface="Freestyle Script" panose="030804020302050B0404" pitchFamily="66" charset="0"/>
      <p:regular r:id="rId30"/>
    </p:embeddedFont>
    <p:embeddedFont>
      <p:font typeface="Calibri" panose="020F0502020204030204" pitchFamily="34" charset="0"/>
      <p:regular r:id="rId31"/>
      <p:bold r:id="rId32"/>
    </p:embeddedFont>
    <p:embeddedFont>
      <p:font typeface="Ubuntu Medium" panose="020B0604020202020204" charset="0"/>
      <p:regular r:id="rId33"/>
      <p:bold r:id="rId34"/>
      <p:italic r:id="rId35"/>
      <p:boldItalic r:id="rId36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>
          <p15:clr>
            <a:srgbClr val="A4A3A4"/>
          </p15:clr>
        </p15:guide>
        <p15:guide id="2" orient="horz" pos="3053">
          <p15:clr>
            <a:srgbClr val="A4A3A4"/>
          </p15:clr>
        </p15:guide>
        <p15:guide id="3" orient="horz" pos="2871">
          <p15:clr>
            <a:srgbClr val="A4A3A4"/>
          </p15:clr>
        </p15:guide>
        <p15:guide id="4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48FF324-D5AF-49EA-A2E9-B6584FF6F7AD}">
  <a:tblStyle styleId="{548FF324-D5AF-49EA-A2E9-B6584FF6F7AD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86" d="100"/>
          <a:sy n="86" d="100"/>
        </p:scale>
        <p:origin x="720" y="48"/>
      </p:cViewPr>
      <p:guideLst>
        <p:guide orient="horz"/>
        <p:guide orient="horz" pos="3053"/>
        <p:guide orient="horz" pos="2871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notesMaster" Target="notesMasters/notesMaster1.xml"/><Relationship Id="rId18" Type="http://schemas.openxmlformats.org/officeDocument/2006/relationships/font" Target="fonts/font5.fntdata"/><Relationship Id="rId26" Type="http://schemas.openxmlformats.org/officeDocument/2006/relationships/font" Target="fonts/font13.fntdata"/><Relationship Id="rId39" Type="http://schemas.openxmlformats.org/officeDocument/2006/relationships/theme" Target="theme/theme1.xml"/><Relationship Id="rId21" Type="http://schemas.openxmlformats.org/officeDocument/2006/relationships/font" Target="fonts/font8.fntdata"/><Relationship Id="rId34" Type="http://schemas.openxmlformats.org/officeDocument/2006/relationships/font" Target="fonts/font21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font" Target="fonts/font4.fntdata"/><Relationship Id="rId25" Type="http://schemas.openxmlformats.org/officeDocument/2006/relationships/font" Target="fonts/font12.fntdata"/><Relationship Id="rId33" Type="http://schemas.openxmlformats.org/officeDocument/2006/relationships/font" Target="fonts/font20.fntdata"/><Relationship Id="rId38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font" Target="fonts/font3.fntdata"/><Relationship Id="rId20" Type="http://schemas.openxmlformats.org/officeDocument/2006/relationships/font" Target="fonts/font7.fntdata"/><Relationship Id="rId29" Type="http://schemas.openxmlformats.org/officeDocument/2006/relationships/font" Target="fonts/font16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11.fntdata"/><Relationship Id="rId32" Type="http://schemas.openxmlformats.org/officeDocument/2006/relationships/font" Target="fonts/font19.fntdata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font" Target="fonts/font2.fntdata"/><Relationship Id="rId23" Type="http://schemas.openxmlformats.org/officeDocument/2006/relationships/font" Target="fonts/font10.fntdata"/><Relationship Id="rId28" Type="http://schemas.openxmlformats.org/officeDocument/2006/relationships/font" Target="fonts/font15.fntdata"/><Relationship Id="rId36" Type="http://schemas.openxmlformats.org/officeDocument/2006/relationships/font" Target="fonts/font23.fntdata"/><Relationship Id="rId10" Type="http://schemas.openxmlformats.org/officeDocument/2006/relationships/slide" Target="slides/slide9.xml"/><Relationship Id="rId19" Type="http://schemas.openxmlformats.org/officeDocument/2006/relationships/font" Target="fonts/font6.fntdata"/><Relationship Id="rId31" Type="http://schemas.openxmlformats.org/officeDocument/2006/relationships/font" Target="fonts/font18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font" Target="fonts/font1.fntdata"/><Relationship Id="rId22" Type="http://schemas.openxmlformats.org/officeDocument/2006/relationships/font" Target="fonts/font9.fntdata"/><Relationship Id="rId27" Type="http://schemas.openxmlformats.org/officeDocument/2006/relationships/font" Target="fonts/font14.fntdata"/><Relationship Id="rId30" Type="http://schemas.openxmlformats.org/officeDocument/2006/relationships/font" Target="fonts/font17.fntdata"/><Relationship Id="rId35" Type="http://schemas.openxmlformats.org/officeDocument/2006/relationships/font" Target="fonts/font22.fntdata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" name="Google Shape;207;g442eb61d9d_0_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8" name="Google Shape;208;g442eb61d9d_0_2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30521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3" name="Google Shape;223;g442eb61d9d_0_3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4" name="Google Shape;224;g442eb61d9d_0_3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" name="Google Shape;192;g442eb61d9d_0_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3" name="Google Shape;193;g442eb61d9d_0_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6" name="Google Shape;236;g442eb61d9d_0_4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7" name="Google Shape;237;g442eb61d9d_0_4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" name="Google Shape;192;g442eb61d9d_0_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3" name="Google Shape;193;g442eb61d9d_0_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55408159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3" name="Google Shape;243;g442eb61d9d_0_5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4" name="Google Shape;244;g442eb61d9d_0_5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" name="Google Shape;192;g442eb61d9d_0_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3" name="Google Shape;193;g442eb61d9d_0_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6334198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6" name="Google Shape;236;g442eb61d9d_0_4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7" name="Google Shape;237;g442eb61d9d_0_4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35483024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6" name="Google Shape;236;g442eb61d9d_0_4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7" name="Google Shape;237;g442eb61d9d_0_4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0896799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Content" type="secHead">
  <p:cSld name="SECTION_HEADER">
    <p:bg>
      <p:bgPr>
        <a:solidFill>
          <a:schemeClr val="lt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Google Shape;13;p3"/>
          <p:cNvSpPr txBox="1">
            <a:spLocks noGrp="1"/>
          </p:cNvSpPr>
          <p:nvPr>
            <p:ph type="title"/>
          </p:nvPr>
        </p:nvSpPr>
        <p:spPr>
          <a:xfrm>
            <a:off x="4698275" y="189950"/>
            <a:ext cx="5311200" cy="11145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>
                <a:solidFill>
                  <a:schemeClr val="bg1">
                    <a:lumMod val="65000"/>
                  </a:schemeClr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>
                <a:solidFill>
                  <a:schemeClr val="lt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>
                <a:solidFill>
                  <a:schemeClr val="lt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>
                <a:solidFill>
                  <a:schemeClr val="lt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>
                <a:solidFill>
                  <a:schemeClr val="lt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>
                <a:solidFill>
                  <a:schemeClr val="lt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>
                <a:solidFill>
                  <a:schemeClr val="lt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>
                <a:solidFill>
                  <a:schemeClr val="lt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>
                <a:solidFill>
                  <a:schemeClr val="lt1"/>
                </a:solidFill>
              </a:defRPr>
            </a:lvl9pPr>
          </a:lstStyle>
          <a:p>
            <a:endParaRPr dirty="0"/>
          </a:p>
        </p:txBody>
      </p:sp>
      <p:sp>
        <p:nvSpPr>
          <p:cNvPr id="14" name="Google Shape;14;p3"/>
          <p:cNvSpPr txBox="1">
            <a:spLocks noGrp="1"/>
          </p:cNvSpPr>
          <p:nvPr>
            <p:ph type="subTitle" idx="1"/>
          </p:nvPr>
        </p:nvSpPr>
        <p:spPr>
          <a:xfrm>
            <a:off x="4696224" y="1709442"/>
            <a:ext cx="3367200" cy="578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bg1">
                    <a:lumMod val="65000"/>
                  </a:schemeClr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/>
            </a:lvl9pPr>
          </a:lstStyle>
          <a:p>
            <a:endParaRPr/>
          </a:p>
        </p:txBody>
      </p:sp>
      <p:sp>
        <p:nvSpPr>
          <p:cNvPr id="15" name="Google Shape;15;p3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 sz="1200">
                <a:solidFill>
                  <a:schemeClr val="bg1">
                    <a:lumMod val="65000"/>
                  </a:schemeClr>
                </a:solidFill>
                <a:latin typeface="Arvo"/>
                <a:ea typeface="Arvo"/>
                <a:cs typeface="Arvo"/>
                <a:sym typeface="Arvo"/>
              </a:defRPr>
            </a:lvl1pPr>
            <a:lvl2pPr lvl="1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2pPr>
            <a:lvl3pPr lvl="2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3pPr>
            <a:lvl4pPr lvl="3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4pPr>
            <a:lvl5pPr lvl="4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5pPr>
            <a:lvl6pPr lvl="5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6pPr>
            <a:lvl7pPr lvl="6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7pPr>
            <a:lvl8pPr lvl="7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8pPr>
            <a:lvl9pPr lvl="8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fld id="{00000000-1234-1234-1234-123412341234}" type="slidenum">
              <a:rPr lang="es" smtClean="0"/>
              <a:pPr/>
              <a:t>‹#›</a:t>
            </a:fld>
            <a:endParaRPr lang="es"/>
          </a:p>
        </p:txBody>
      </p:sp>
      <p:sp>
        <p:nvSpPr>
          <p:cNvPr id="16" name="Google Shape;16;p3"/>
          <p:cNvSpPr/>
          <p:nvPr/>
        </p:nvSpPr>
        <p:spPr>
          <a:xfrm>
            <a:off x="4572000" y="429350"/>
            <a:ext cx="2772000" cy="635700"/>
          </a:xfrm>
          <a:prstGeom prst="rect">
            <a:avLst/>
          </a:prstGeom>
          <a:noFill/>
          <a:ln w="38100" cap="flat" cmpd="sng">
            <a:solidFill>
              <a:schemeClr val="bg1">
                <a:lumMod val="6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7" name="Google Shape;17;p3"/>
          <p:cNvSpPr txBox="1">
            <a:spLocks noGrp="1"/>
          </p:cNvSpPr>
          <p:nvPr>
            <p:ph type="title" idx="2"/>
          </p:nvPr>
        </p:nvSpPr>
        <p:spPr>
          <a:xfrm>
            <a:off x="4696225" y="1198788"/>
            <a:ext cx="5311200" cy="6825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>
                <a:solidFill>
                  <a:schemeClr val="bg1">
                    <a:lumMod val="65000"/>
                  </a:schemeClr>
                </a:solidFill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9pPr>
          </a:lstStyle>
          <a:p>
            <a:endParaRPr dirty="0"/>
          </a:p>
        </p:txBody>
      </p:sp>
      <p:sp>
        <p:nvSpPr>
          <p:cNvPr id="18" name="Google Shape;18;p3"/>
          <p:cNvSpPr txBox="1">
            <a:spLocks noGrp="1"/>
          </p:cNvSpPr>
          <p:nvPr>
            <p:ph type="subTitle" idx="3"/>
          </p:nvPr>
        </p:nvSpPr>
        <p:spPr>
          <a:xfrm>
            <a:off x="4696224" y="2836672"/>
            <a:ext cx="3367200" cy="578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bg1">
                    <a:lumMod val="65000"/>
                  </a:schemeClr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/>
            </a:lvl9pPr>
          </a:lstStyle>
          <a:p>
            <a:endParaRPr/>
          </a:p>
        </p:txBody>
      </p:sp>
      <p:sp>
        <p:nvSpPr>
          <p:cNvPr id="19" name="Google Shape;19;p3"/>
          <p:cNvSpPr txBox="1">
            <a:spLocks noGrp="1"/>
          </p:cNvSpPr>
          <p:nvPr>
            <p:ph type="title" idx="4"/>
          </p:nvPr>
        </p:nvSpPr>
        <p:spPr>
          <a:xfrm>
            <a:off x="4696225" y="2326013"/>
            <a:ext cx="5311200" cy="6825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>
                <a:solidFill>
                  <a:schemeClr val="bg1">
                    <a:lumMod val="65000"/>
                  </a:schemeClr>
                </a:solidFill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20" name="Google Shape;20;p3"/>
          <p:cNvSpPr txBox="1">
            <a:spLocks noGrp="1"/>
          </p:cNvSpPr>
          <p:nvPr>
            <p:ph type="subTitle" idx="5"/>
          </p:nvPr>
        </p:nvSpPr>
        <p:spPr>
          <a:xfrm>
            <a:off x="4696224" y="3967490"/>
            <a:ext cx="3367200" cy="578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bg1">
                    <a:lumMod val="65000"/>
                  </a:schemeClr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2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2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2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2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2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2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200"/>
            </a:lvl9pPr>
          </a:lstStyle>
          <a:p>
            <a:endParaRPr/>
          </a:p>
        </p:txBody>
      </p:sp>
      <p:sp>
        <p:nvSpPr>
          <p:cNvPr id="21" name="Google Shape;21;p3"/>
          <p:cNvSpPr txBox="1">
            <a:spLocks noGrp="1"/>
          </p:cNvSpPr>
          <p:nvPr>
            <p:ph type="title" idx="6"/>
          </p:nvPr>
        </p:nvSpPr>
        <p:spPr>
          <a:xfrm>
            <a:off x="4696225" y="3453254"/>
            <a:ext cx="5311200" cy="6825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>
                <a:solidFill>
                  <a:schemeClr val="bg1">
                    <a:lumMod val="65000"/>
                  </a:schemeClr>
                </a:solidFill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22" name="Google Shape;22;p3"/>
          <p:cNvSpPr/>
          <p:nvPr/>
        </p:nvSpPr>
        <p:spPr>
          <a:xfrm>
            <a:off x="406950" y="352200"/>
            <a:ext cx="2448750" cy="4311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3" name="Google Shape;23;p3"/>
          <p:cNvSpPr/>
          <p:nvPr/>
        </p:nvSpPr>
        <p:spPr>
          <a:xfrm>
            <a:off x="3582225" y="1426175"/>
            <a:ext cx="838800" cy="819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4" name="Google Shape;24;p3"/>
          <p:cNvSpPr/>
          <p:nvPr/>
        </p:nvSpPr>
        <p:spPr>
          <a:xfrm>
            <a:off x="3582225" y="2553400"/>
            <a:ext cx="838800" cy="819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5" name="Google Shape;25;p3"/>
          <p:cNvSpPr/>
          <p:nvPr/>
        </p:nvSpPr>
        <p:spPr>
          <a:xfrm>
            <a:off x="3582225" y="3680625"/>
            <a:ext cx="838800" cy="819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" name="Google Shape;26;p3"/>
          <p:cNvSpPr txBox="1">
            <a:spLocks noGrp="1"/>
          </p:cNvSpPr>
          <p:nvPr>
            <p:ph type="title" idx="7" hasCustomPrompt="1"/>
          </p:nvPr>
        </p:nvSpPr>
        <p:spPr>
          <a:xfrm>
            <a:off x="3372225" y="1518275"/>
            <a:ext cx="1258800" cy="635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 b="1">
                <a:solidFill>
                  <a:schemeClr val="bg1">
                    <a:lumMod val="95000"/>
                  </a:schemeClr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r>
              <a:rPr dirty="0"/>
              <a:t>xx%</a:t>
            </a:r>
          </a:p>
        </p:txBody>
      </p:sp>
      <p:sp>
        <p:nvSpPr>
          <p:cNvPr id="27" name="Google Shape;27;p3"/>
          <p:cNvSpPr txBox="1">
            <a:spLocks noGrp="1"/>
          </p:cNvSpPr>
          <p:nvPr>
            <p:ph type="title" idx="8" hasCustomPrompt="1"/>
          </p:nvPr>
        </p:nvSpPr>
        <p:spPr>
          <a:xfrm>
            <a:off x="3372225" y="2645500"/>
            <a:ext cx="1258800" cy="635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 b="1">
                <a:solidFill>
                  <a:schemeClr val="bg1">
                    <a:lumMod val="85000"/>
                  </a:schemeClr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r>
              <a:t>xx%</a:t>
            </a:r>
          </a:p>
        </p:txBody>
      </p:sp>
      <p:sp>
        <p:nvSpPr>
          <p:cNvPr id="28" name="Google Shape;28;p3"/>
          <p:cNvSpPr txBox="1">
            <a:spLocks noGrp="1"/>
          </p:cNvSpPr>
          <p:nvPr>
            <p:ph type="title" idx="9" hasCustomPrompt="1"/>
          </p:nvPr>
        </p:nvSpPr>
        <p:spPr>
          <a:xfrm>
            <a:off x="3372225" y="3772725"/>
            <a:ext cx="1258800" cy="635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 b="1">
                <a:solidFill>
                  <a:schemeClr val="bg1">
                    <a:lumMod val="85000"/>
                  </a:schemeClr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r>
              <a:t>xx%</a:t>
            </a:r>
          </a:p>
        </p:txBody>
      </p:sp>
      <p:sp>
        <p:nvSpPr>
          <p:cNvPr id="29" name="Google Shape;51;p8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noFill/>
          <a:ln w="3810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subtitle">
  <p:cSld name="SECTION_HEADER_1">
    <p:bg>
      <p:bgPr>
        <a:solidFill>
          <a:schemeClr val="lt1"/>
        </a:solidFill>
        <a:effectLst/>
      </p:bgPr>
    </p:bg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Google Shape;41;p6"/>
          <p:cNvSpPr txBox="1">
            <a:spLocks noGrp="1"/>
          </p:cNvSpPr>
          <p:nvPr>
            <p:ph type="title"/>
          </p:nvPr>
        </p:nvSpPr>
        <p:spPr>
          <a:xfrm>
            <a:off x="570047" y="993900"/>
            <a:ext cx="3055500" cy="11145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>
                <a:solidFill>
                  <a:schemeClr val="lt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>
                <a:solidFill>
                  <a:schemeClr val="lt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>
                <a:solidFill>
                  <a:schemeClr val="lt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>
                <a:solidFill>
                  <a:schemeClr val="lt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>
                <a:solidFill>
                  <a:schemeClr val="lt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>
                <a:solidFill>
                  <a:schemeClr val="lt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>
                <a:solidFill>
                  <a:schemeClr val="lt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None/>
              <a:defRPr sz="40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42" name="Google Shape;42;p6"/>
          <p:cNvSpPr txBox="1">
            <a:spLocks noGrp="1"/>
          </p:cNvSpPr>
          <p:nvPr>
            <p:ph type="subTitle" idx="1"/>
          </p:nvPr>
        </p:nvSpPr>
        <p:spPr>
          <a:xfrm>
            <a:off x="614775" y="2564775"/>
            <a:ext cx="2920800" cy="578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43" name="Google Shape;43;p6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 sz="1200">
                <a:solidFill>
                  <a:schemeClr val="bg1">
                    <a:lumMod val="65000"/>
                  </a:schemeClr>
                </a:solidFill>
                <a:latin typeface="Arvo"/>
                <a:ea typeface="Arvo"/>
                <a:cs typeface="Arvo"/>
                <a:sym typeface="Arvo"/>
              </a:defRPr>
            </a:lvl1pPr>
            <a:lvl2pPr lvl="1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2pPr>
            <a:lvl3pPr lvl="2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3pPr>
            <a:lvl4pPr lvl="3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4pPr>
            <a:lvl5pPr lvl="4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5pPr>
            <a:lvl6pPr lvl="5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6pPr>
            <a:lvl7pPr lvl="6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7pPr>
            <a:lvl8pPr lvl="7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8pPr>
            <a:lvl9pPr lvl="8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fld id="{00000000-1234-1234-1234-123412341234}" type="slidenum">
              <a:rPr lang="es" smtClean="0"/>
              <a:pPr/>
              <a:t>‹#›</a:t>
            </a:fld>
            <a:endParaRPr lang="es"/>
          </a:p>
        </p:txBody>
      </p:sp>
      <p:cxnSp>
        <p:nvCxnSpPr>
          <p:cNvPr id="44" name="Google Shape;44;p6"/>
          <p:cNvCxnSpPr/>
          <p:nvPr/>
        </p:nvCxnSpPr>
        <p:spPr>
          <a:xfrm>
            <a:off x="678525" y="2060575"/>
            <a:ext cx="676200" cy="0"/>
          </a:xfrm>
          <a:prstGeom prst="straightConnector1">
            <a:avLst/>
          </a:prstGeom>
          <a:noFill/>
          <a:ln w="76200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6" name="Google Shape;51;p8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noFill/>
          <a:ln w="3810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slide">
  <p:cSld name="CUSTOM">
    <p:bg>
      <p:bgPr>
        <a:solidFill>
          <a:schemeClr val="lt1"/>
        </a:solidFill>
        <a:effectLst/>
      </p:bgPr>
    </p:bg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Google Shape;46;p7"/>
          <p:cNvSpPr/>
          <p:nvPr/>
        </p:nvSpPr>
        <p:spPr>
          <a:xfrm>
            <a:off x="1395500" y="892500"/>
            <a:ext cx="6189000" cy="2731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7" name="Google Shape;47;p7"/>
          <p:cNvSpPr txBox="1">
            <a:spLocks noGrp="1"/>
          </p:cNvSpPr>
          <p:nvPr>
            <p:ph type="subTitle" idx="1"/>
          </p:nvPr>
        </p:nvSpPr>
        <p:spPr>
          <a:xfrm>
            <a:off x="1894475" y="1126950"/>
            <a:ext cx="5397600" cy="2100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3000" b="1">
                <a:solidFill>
                  <a:schemeClr val="bg1">
                    <a:lumMod val="95000"/>
                  </a:schemeClr>
                </a:solidFill>
                <a:latin typeface="Ubuntu"/>
                <a:ea typeface="Ubuntu"/>
                <a:cs typeface="Ubuntu"/>
                <a:sym typeface="Ubuntu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endParaRPr dirty="0"/>
          </a:p>
        </p:txBody>
      </p:sp>
      <p:sp>
        <p:nvSpPr>
          <p:cNvPr id="48" name="Google Shape;48;p7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 sz="1200">
                <a:solidFill>
                  <a:schemeClr val="bg1">
                    <a:lumMod val="65000"/>
                  </a:schemeClr>
                </a:solidFill>
                <a:latin typeface="Arvo"/>
                <a:ea typeface="Arvo"/>
                <a:cs typeface="Arvo"/>
                <a:sym typeface="Arvo"/>
              </a:defRPr>
            </a:lvl1pPr>
            <a:lvl2pPr lvl="1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2pPr>
            <a:lvl3pPr lvl="2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3pPr>
            <a:lvl4pPr lvl="3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4pPr>
            <a:lvl5pPr lvl="4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5pPr>
            <a:lvl6pPr lvl="5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6pPr>
            <a:lvl7pPr lvl="6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7pPr>
            <a:lvl8pPr lvl="7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8pPr>
            <a:lvl9pPr lvl="8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fld id="{00000000-1234-1234-1234-123412341234}" type="slidenum">
              <a:rPr lang="es" smtClean="0"/>
              <a:pPr/>
              <a:t>‹#›</a:t>
            </a:fld>
            <a:endParaRPr lang="es"/>
          </a:p>
        </p:txBody>
      </p:sp>
      <p:sp>
        <p:nvSpPr>
          <p:cNvPr id="49" name="Google Shape;49;p7"/>
          <p:cNvSpPr txBox="1">
            <a:spLocks noGrp="1"/>
          </p:cNvSpPr>
          <p:nvPr>
            <p:ph type="subTitle" idx="2"/>
          </p:nvPr>
        </p:nvSpPr>
        <p:spPr>
          <a:xfrm>
            <a:off x="1894475" y="2977400"/>
            <a:ext cx="2920800" cy="578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>
                    <a:lumMod val="85000"/>
                  </a:schemeClr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lt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lt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lt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lt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lt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lt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lt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lt1"/>
                </a:solidFill>
              </a:defRPr>
            </a:lvl9pPr>
          </a:lstStyle>
          <a:p>
            <a:endParaRPr dirty="0"/>
          </a:p>
        </p:txBody>
      </p:sp>
      <p:sp>
        <p:nvSpPr>
          <p:cNvPr id="6" name="Google Shape;51;p8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noFill/>
          <a:ln w="3810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body slide" type="tx">
  <p:cSld name="TITLE_AND_BODY">
    <p:bg>
      <p:bgPr>
        <a:solidFill>
          <a:schemeClr val="lt1"/>
        </a:solidFill>
        <a:effectLst/>
      </p:bgPr>
    </p:bg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Google Shape;51;p8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noFill/>
          <a:ln w="3810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2" name="Google Shape;52;p8"/>
          <p:cNvSpPr txBox="1">
            <a:spLocks noGrp="1"/>
          </p:cNvSpPr>
          <p:nvPr>
            <p:ph type="title"/>
          </p:nvPr>
        </p:nvSpPr>
        <p:spPr>
          <a:xfrm>
            <a:off x="0" y="216225"/>
            <a:ext cx="9144000" cy="913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bg1">
                    <a:lumMod val="50000"/>
                  </a:schemeClr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400"/>
              <a:buFont typeface="Bodoni"/>
              <a:buNone/>
              <a:defRPr b="1">
                <a:latin typeface="Bodoni"/>
                <a:ea typeface="Bodoni"/>
                <a:cs typeface="Bodoni"/>
                <a:sym typeface="Bodoni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400"/>
              <a:buFont typeface="Bodoni"/>
              <a:buNone/>
              <a:defRPr b="1">
                <a:latin typeface="Bodoni"/>
                <a:ea typeface="Bodoni"/>
                <a:cs typeface="Bodoni"/>
                <a:sym typeface="Bodoni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400"/>
              <a:buFont typeface="Bodoni"/>
              <a:buNone/>
              <a:defRPr b="1">
                <a:latin typeface="Bodoni"/>
                <a:ea typeface="Bodoni"/>
                <a:cs typeface="Bodoni"/>
                <a:sym typeface="Bodoni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400"/>
              <a:buFont typeface="Bodoni"/>
              <a:buNone/>
              <a:defRPr b="1">
                <a:latin typeface="Bodoni"/>
                <a:ea typeface="Bodoni"/>
                <a:cs typeface="Bodoni"/>
                <a:sym typeface="Bodoni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400"/>
              <a:buFont typeface="Bodoni"/>
              <a:buNone/>
              <a:defRPr b="1">
                <a:latin typeface="Bodoni"/>
                <a:ea typeface="Bodoni"/>
                <a:cs typeface="Bodoni"/>
                <a:sym typeface="Bodoni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400"/>
              <a:buFont typeface="Bodoni"/>
              <a:buNone/>
              <a:defRPr b="1">
                <a:latin typeface="Bodoni"/>
                <a:ea typeface="Bodoni"/>
                <a:cs typeface="Bodoni"/>
                <a:sym typeface="Bodoni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400"/>
              <a:buFont typeface="Bodoni"/>
              <a:buNone/>
              <a:defRPr b="1">
                <a:latin typeface="Bodoni"/>
                <a:ea typeface="Bodoni"/>
                <a:cs typeface="Bodoni"/>
                <a:sym typeface="Bodoni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400"/>
              <a:buFont typeface="Bodoni"/>
              <a:buNone/>
              <a:defRPr b="1">
                <a:latin typeface="Bodoni"/>
                <a:ea typeface="Bodoni"/>
                <a:cs typeface="Bodoni"/>
                <a:sym typeface="Bodoni"/>
              </a:defRPr>
            </a:lvl9pPr>
          </a:lstStyle>
          <a:p>
            <a:endParaRPr dirty="0"/>
          </a:p>
        </p:txBody>
      </p:sp>
      <p:sp>
        <p:nvSpPr>
          <p:cNvPr id="53" name="Google Shape;53;p8"/>
          <p:cNvSpPr txBox="1">
            <a:spLocks noGrp="1"/>
          </p:cNvSpPr>
          <p:nvPr>
            <p:ph type="body" idx="1"/>
          </p:nvPr>
        </p:nvSpPr>
        <p:spPr>
          <a:xfrm>
            <a:off x="1454050" y="1904925"/>
            <a:ext cx="5877000" cy="2502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400"/>
            </a:lvl2pPr>
            <a:lvl3pPr marL="1371600" lvl="2" indent="-31115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300"/>
              <a:buChar char="■"/>
              <a:defRPr sz="1300"/>
            </a:lvl3pPr>
            <a:lvl4pPr marL="1828800" lvl="3" indent="-31115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300"/>
              <a:buChar char="●"/>
              <a:defRPr sz="1300"/>
            </a:lvl4pPr>
            <a:lvl5pPr marL="2286000" lvl="4" indent="-3048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29845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21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Char char="■"/>
              <a:defRPr sz="1000"/>
            </a:lvl9pPr>
          </a:lstStyle>
          <a:p>
            <a:endParaRPr/>
          </a:p>
        </p:txBody>
      </p:sp>
      <p:sp>
        <p:nvSpPr>
          <p:cNvPr id="54" name="Google Shape;54;p8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 sz="1200">
                <a:solidFill>
                  <a:schemeClr val="bg1">
                    <a:lumMod val="50000"/>
                  </a:schemeClr>
                </a:solidFill>
                <a:latin typeface="Arvo"/>
                <a:ea typeface="Arvo"/>
                <a:cs typeface="Arvo"/>
                <a:sym typeface="Arvo"/>
              </a:defRPr>
            </a:lvl1pPr>
            <a:lvl2pPr lvl="1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2pPr>
            <a:lvl3pPr lvl="2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3pPr>
            <a:lvl4pPr lvl="3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4pPr>
            <a:lvl5pPr lvl="4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5pPr>
            <a:lvl6pPr lvl="5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6pPr>
            <a:lvl7pPr lvl="6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7pPr>
            <a:lvl8pPr lvl="7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8pPr>
            <a:lvl9pPr lvl="8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fld id="{00000000-1234-1234-1234-123412341234}" type="slidenum">
              <a:rPr lang="es" smtClean="0"/>
              <a:pPr/>
              <a:t>‹#›</a:t>
            </a:fld>
            <a:endParaRPr lang="es"/>
          </a:p>
        </p:txBody>
      </p:sp>
      <p:cxnSp>
        <p:nvCxnSpPr>
          <p:cNvPr id="55" name="Google Shape;55;p8"/>
          <p:cNvCxnSpPr/>
          <p:nvPr/>
        </p:nvCxnSpPr>
        <p:spPr>
          <a:xfrm>
            <a:off x="4233900" y="1223600"/>
            <a:ext cx="676200" cy="0"/>
          </a:xfrm>
          <a:prstGeom prst="straightConnector1">
            <a:avLst/>
          </a:prstGeom>
          <a:noFill/>
          <a:ln w="76200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2 columns slide" type="twoColTx">
  <p:cSld name="TITLE_AND_TWO_COLUMNS">
    <p:bg>
      <p:bgPr>
        <a:solidFill>
          <a:schemeClr val="lt1"/>
        </a:solidFill>
        <a:effectLst/>
      </p:bgPr>
    </p:bg>
    <p:spTree>
      <p:nvGrpSpPr>
        <p:cNvPr id="1" name="Shape 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Google Shape;68;p11"/>
          <p:cNvSpPr/>
          <p:nvPr/>
        </p:nvSpPr>
        <p:spPr>
          <a:xfrm>
            <a:off x="406950" y="352200"/>
            <a:ext cx="8330100" cy="4311000"/>
          </a:xfrm>
          <a:prstGeom prst="rect">
            <a:avLst/>
          </a:prstGeom>
          <a:noFill/>
          <a:ln w="3810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69" name="Google Shape;69;p11"/>
          <p:cNvCxnSpPr/>
          <p:nvPr/>
        </p:nvCxnSpPr>
        <p:spPr>
          <a:xfrm>
            <a:off x="4550550" y="1941425"/>
            <a:ext cx="0" cy="1927500"/>
          </a:xfrm>
          <a:prstGeom prst="straightConnector1">
            <a:avLst/>
          </a:prstGeom>
          <a:noFill/>
          <a:ln w="38100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70" name="Google Shape;70;p11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 sz="1200">
                <a:solidFill>
                  <a:schemeClr val="bg1">
                    <a:lumMod val="65000"/>
                  </a:schemeClr>
                </a:solidFill>
                <a:latin typeface="Arvo"/>
                <a:ea typeface="Arvo"/>
                <a:cs typeface="Arvo"/>
                <a:sym typeface="Arvo"/>
              </a:defRPr>
            </a:lvl1pPr>
            <a:lvl2pPr lvl="1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2pPr>
            <a:lvl3pPr lvl="2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3pPr>
            <a:lvl4pPr lvl="3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4pPr>
            <a:lvl5pPr lvl="4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5pPr>
            <a:lvl6pPr lvl="5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6pPr>
            <a:lvl7pPr lvl="6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7pPr>
            <a:lvl8pPr lvl="7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8pPr>
            <a:lvl9pPr lvl="8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fld id="{00000000-1234-1234-1234-123412341234}" type="slidenum">
              <a:rPr lang="es" smtClean="0"/>
              <a:pPr/>
              <a:t>‹#›</a:t>
            </a:fld>
            <a:endParaRPr lang="es"/>
          </a:p>
        </p:txBody>
      </p:sp>
      <p:sp>
        <p:nvSpPr>
          <p:cNvPr id="71" name="Google Shape;71;p11"/>
          <p:cNvSpPr txBox="1">
            <a:spLocks noGrp="1"/>
          </p:cNvSpPr>
          <p:nvPr>
            <p:ph type="ctrTitle"/>
          </p:nvPr>
        </p:nvSpPr>
        <p:spPr>
          <a:xfrm>
            <a:off x="1113228" y="1571550"/>
            <a:ext cx="31695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1800" b="1" i="0">
                <a:solidFill>
                  <a:schemeClr val="dk2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>
                <a:solidFill>
                  <a:schemeClr val="dk2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>
                <a:solidFill>
                  <a:schemeClr val="dk2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>
                <a:solidFill>
                  <a:schemeClr val="dk2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>
                <a:solidFill>
                  <a:schemeClr val="dk2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>
                <a:solidFill>
                  <a:schemeClr val="dk2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>
                <a:solidFill>
                  <a:schemeClr val="dk2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>
                <a:solidFill>
                  <a:schemeClr val="dk2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72" name="Google Shape;72;p11"/>
          <p:cNvSpPr txBox="1">
            <a:spLocks noGrp="1"/>
          </p:cNvSpPr>
          <p:nvPr>
            <p:ph type="subTitle" idx="1"/>
          </p:nvPr>
        </p:nvSpPr>
        <p:spPr>
          <a:xfrm>
            <a:off x="1113229" y="2177000"/>
            <a:ext cx="31014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9pPr>
          </a:lstStyle>
          <a:p>
            <a:endParaRPr/>
          </a:p>
        </p:txBody>
      </p:sp>
      <p:sp>
        <p:nvSpPr>
          <p:cNvPr id="73" name="Google Shape;73;p11"/>
          <p:cNvSpPr txBox="1">
            <a:spLocks noGrp="1"/>
          </p:cNvSpPr>
          <p:nvPr>
            <p:ph type="ctrTitle" idx="2"/>
          </p:nvPr>
        </p:nvSpPr>
        <p:spPr>
          <a:xfrm>
            <a:off x="4818378" y="1571550"/>
            <a:ext cx="3169500" cy="644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1800" b="1" i="0">
                <a:solidFill>
                  <a:schemeClr val="dk2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>
                <a:solidFill>
                  <a:schemeClr val="dk2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>
                <a:solidFill>
                  <a:schemeClr val="dk2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>
                <a:solidFill>
                  <a:schemeClr val="dk2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>
                <a:solidFill>
                  <a:schemeClr val="dk2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>
                <a:solidFill>
                  <a:schemeClr val="dk2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>
                <a:solidFill>
                  <a:schemeClr val="dk2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>
                <a:solidFill>
                  <a:schemeClr val="dk2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>
                <a:solidFill>
                  <a:schemeClr val="dk2"/>
                </a:solidFill>
              </a:defRPr>
            </a:lvl9pPr>
          </a:lstStyle>
          <a:p>
            <a:endParaRPr dirty="0"/>
          </a:p>
        </p:txBody>
      </p:sp>
      <p:sp>
        <p:nvSpPr>
          <p:cNvPr id="74" name="Google Shape;74;p11"/>
          <p:cNvSpPr txBox="1">
            <a:spLocks noGrp="1"/>
          </p:cNvSpPr>
          <p:nvPr>
            <p:ph type="subTitle" idx="3"/>
          </p:nvPr>
        </p:nvSpPr>
        <p:spPr>
          <a:xfrm>
            <a:off x="4818379" y="2177000"/>
            <a:ext cx="31014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9pPr>
          </a:lstStyle>
          <a:p>
            <a:endParaRPr/>
          </a:p>
        </p:txBody>
      </p:sp>
      <p:sp>
        <p:nvSpPr>
          <p:cNvPr id="75" name="Google Shape;75;p11"/>
          <p:cNvSpPr txBox="1">
            <a:spLocks noGrp="1"/>
          </p:cNvSpPr>
          <p:nvPr>
            <p:ph type="title" idx="4"/>
          </p:nvPr>
        </p:nvSpPr>
        <p:spPr>
          <a:xfrm>
            <a:off x="-11850" y="927075"/>
            <a:ext cx="91440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200"/>
              <a:buNone/>
              <a:defRPr sz="2200" b="1">
                <a:solidFill>
                  <a:schemeClr val="bg1">
                    <a:lumMod val="50000"/>
                  </a:schemeClr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 &amp; some text slide 2">
  <p:cSld name="BIG_NUMBER_2">
    <p:bg>
      <p:bgPr>
        <a:solidFill>
          <a:schemeClr val="lt1"/>
        </a:solidFill>
        <a:effectLst/>
      </p:bgPr>
    </p:bg>
    <p:spTree>
      <p:nvGrpSpPr>
        <p:cNvPr id="1" name="Shape 1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" name="Google Shape;123;p16"/>
          <p:cNvSpPr/>
          <p:nvPr/>
        </p:nvSpPr>
        <p:spPr>
          <a:xfrm>
            <a:off x="406950" y="352200"/>
            <a:ext cx="8330100" cy="4311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4" name="Google Shape;124;p16"/>
          <p:cNvSpPr txBox="1">
            <a:spLocks noGrp="1"/>
          </p:cNvSpPr>
          <p:nvPr>
            <p:ph type="title" hasCustomPrompt="1"/>
          </p:nvPr>
        </p:nvSpPr>
        <p:spPr>
          <a:xfrm>
            <a:off x="742950" y="1238100"/>
            <a:ext cx="7729500" cy="19635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 b="1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t>xx%</a:t>
            </a:r>
          </a:p>
        </p:txBody>
      </p:sp>
      <p:sp>
        <p:nvSpPr>
          <p:cNvPr id="125" name="Google Shape;125;p16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 sz="1200">
                <a:solidFill>
                  <a:schemeClr val="bg1">
                    <a:lumMod val="65000"/>
                  </a:schemeClr>
                </a:solidFill>
                <a:latin typeface="Arvo"/>
                <a:ea typeface="Arvo"/>
                <a:cs typeface="Arvo"/>
                <a:sym typeface="Arvo"/>
              </a:defRPr>
            </a:lvl1pPr>
            <a:lvl2pPr lvl="1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2pPr>
            <a:lvl3pPr lvl="2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3pPr>
            <a:lvl4pPr lvl="3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4pPr>
            <a:lvl5pPr lvl="4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5pPr>
            <a:lvl6pPr lvl="5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6pPr>
            <a:lvl7pPr lvl="6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7pPr>
            <a:lvl8pPr lvl="7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8pPr>
            <a:lvl9pPr lvl="8" rtl="0">
              <a:buNone/>
              <a:defRPr sz="1200">
                <a:solidFill>
                  <a:srgbClr val="D9D9D9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fld id="{00000000-1234-1234-1234-123412341234}" type="slidenum">
              <a:rPr lang="es" smtClean="0"/>
              <a:pPr/>
              <a:t>‹#›</a:t>
            </a:fld>
            <a:endParaRPr lang="es"/>
          </a:p>
        </p:txBody>
      </p:sp>
      <p:sp>
        <p:nvSpPr>
          <p:cNvPr id="126" name="Google Shape;126;p16"/>
          <p:cNvSpPr txBox="1">
            <a:spLocks noGrp="1"/>
          </p:cNvSpPr>
          <p:nvPr>
            <p:ph type="subTitle" idx="1"/>
          </p:nvPr>
        </p:nvSpPr>
        <p:spPr>
          <a:xfrm>
            <a:off x="2433300" y="3015325"/>
            <a:ext cx="4277400" cy="644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>
                <a:solidFill>
                  <a:schemeClr val="lt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>
                <a:solidFill>
                  <a:schemeClr val="lt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>
                <a:solidFill>
                  <a:schemeClr val="lt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>
                <a:solidFill>
                  <a:schemeClr val="lt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>
                <a:solidFill>
                  <a:schemeClr val="lt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>
                <a:solidFill>
                  <a:schemeClr val="lt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slide" type="blank">
  <p:cSld name="BLANK">
    <p:bg>
      <p:bgPr>
        <a:solidFill>
          <a:schemeClr val="lt1"/>
        </a:solidFill>
        <a:effectLst/>
      </p:bgPr>
    </p:bg>
    <p:spTree>
      <p:nvGrpSpPr>
        <p:cNvPr id="1" name="Shape 1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5;p3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 sz="1200">
                <a:solidFill>
                  <a:schemeClr val="bg1">
                    <a:lumMod val="65000"/>
                  </a:schemeClr>
                </a:solidFill>
                <a:latin typeface="Arvo"/>
                <a:ea typeface="Arvo"/>
                <a:cs typeface="Arvo"/>
                <a:sym typeface="Arvo"/>
              </a:defRPr>
            </a:lvl1pPr>
            <a:lvl2pPr lvl="1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2pPr>
            <a:lvl3pPr lvl="2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3pPr>
            <a:lvl4pPr lvl="3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4pPr>
            <a:lvl5pPr lvl="4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5pPr>
            <a:lvl6pPr lvl="5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6pPr>
            <a:lvl7pPr lvl="6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7pPr>
            <a:lvl8pPr lvl="7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8pPr>
            <a:lvl9pPr lvl="8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fld id="{00000000-1234-1234-1234-123412341234}" type="slidenum">
              <a:rPr lang="es" smtClean="0"/>
              <a:pPr/>
              <a:t>‹#›</a:t>
            </a:fld>
            <a:endParaRPr lang="e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White frame">
  <p:cSld name="BLANK_1_1">
    <p:bg>
      <p:bgPr>
        <a:solidFill>
          <a:schemeClr val="lt1"/>
        </a:solidFill>
        <a:effectLst/>
      </p:bgPr>
    </p:bg>
    <p:spTree>
      <p:nvGrpSpPr>
        <p:cNvPr id="1" name="Shape 1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" name="Google Shape;138;p19"/>
          <p:cNvSpPr/>
          <p:nvPr/>
        </p:nvSpPr>
        <p:spPr>
          <a:xfrm>
            <a:off x="406950" y="352183"/>
            <a:ext cx="8330100" cy="431101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" name="Google Shape;15;p3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 sz="1200">
                <a:solidFill>
                  <a:schemeClr val="bg1">
                    <a:lumMod val="50000"/>
                  </a:schemeClr>
                </a:solidFill>
                <a:latin typeface="Arvo"/>
                <a:ea typeface="Arvo"/>
                <a:cs typeface="Arvo"/>
                <a:sym typeface="Arvo"/>
              </a:defRPr>
            </a:lvl1pPr>
            <a:lvl2pPr lvl="1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2pPr>
            <a:lvl3pPr lvl="2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3pPr>
            <a:lvl4pPr lvl="3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4pPr>
            <a:lvl5pPr lvl="4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5pPr>
            <a:lvl6pPr lvl="5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6pPr>
            <a:lvl7pPr lvl="6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7pPr>
            <a:lvl8pPr lvl="7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8pPr>
            <a:lvl9pPr lvl="8" rtl="0">
              <a:buNone/>
              <a:defRPr sz="1200">
                <a:solidFill>
                  <a:srgbClr val="CCCCCC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fld id="{00000000-1234-1234-1234-123412341234}" type="slidenum">
              <a:rPr lang="es" smtClean="0"/>
              <a:pPr/>
              <a:t>‹#›</a:t>
            </a:fld>
            <a:endParaRPr lang="es"/>
          </a:p>
        </p:txBody>
      </p:sp>
      <p:sp>
        <p:nvSpPr>
          <p:cNvPr id="4" name="Google Shape;51;p8"/>
          <p:cNvSpPr/>
          <p:nvPr userDrawn="1"/>
        </p:nvSpPr>
        <p:spPr>
          <a:xfrm>
            <a:off x="406950" y="352200"/>
            <a:ext cx="8330100" cy="4311000"/>
          </a:xfrm>
          <a:prstGeom prst="rect">
            <a:avLst/>
          </a:prstGeom>
          <a:noFill/>
          <a:ln w="3810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1068100" y="933450"/>
            <a:ext cx="7047300" cy="48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Ubuntu"/>
              <a:buNone/>
              <a:defRPr sz="2400" b="1">
                <a:solidFill>
                  <a:schemeClr val="dk1"/>
                </a:solidFill>
                <a:latin typeface="Ubuntu"/>
                <a:ea typeface="Ubuntu"/>
                <a:cs typeface="Ubuntu"/>
                <a:sym typeface="Ubuntu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vo"/>
              <a:buNone/>
              <a:defRPr sz="2400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vo"/>
              <a:buNone/>
              <a:defRPr sz="2400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vo"/>
              <a:buNone/>
              <a:defRPr sz="2400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vo"/>
              <a:buNone/>
              <a:defRPr sz="2400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vo"/>
              <a:buNone/>
              <a:defRPr sz="2400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vo"/>
              <a:buNone/>
              <a:defRPr sz="2400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vo"/>
              <a:buNone/>
              <a:defRPr sz="2400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vo"/>
              <a:buNone/>
              <a:defRPr sz="2400">
                <a:solidFill>
                  <a:schemeClr val="dk1"/>
                </a:solidFill>
                <a:latin typeface="Arvo"/>
                <a:ea typeface="Arvo"/>
                <a:cs typeface="Arvo"/>
                <a:sym typeface="Arvo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1068100" y="1695450"/>
            <a:ext cx="7047300" cy="250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Ubuntu Light"/>
              <a:buChar char="●"/>
              <a:defRPr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1pPr>
            <a:lvl2pPr marL="914400" lvl="1" indent="-3175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Ubuntu Light"/>
              <a:buChar char="○"/>
              <a:defRPr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2pPr>
            <a:lvl3pPr marL="1371600" lvl="2" indent="-31115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300"/>
              <a:buFont typeface="Ubuntu Light"/>
              <a:buChar char="■"/>
              <a:defRPr sz="1300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3pPr>
            <a:lvl4pPr marL="1828800" lvl="3" indent="-31115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300"/>
              <a:buFont typeface="Ubuntu Light"/>
              <a:buChar char="●"/>
              <a:defRPr sz="1300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4pPr>
            <a:lvl5pPr marL="2286000" lvl="4" indent="-3048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Font typeface="Ubuntu Light"/>
              <a:buChar char="○"/>
              <a:defRPr sz="1200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5pPr>
            <a:lvl6pPr marL="2743200" lvl="5" indent="-3048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Font typeface="Ubuntu Light"/>
              <a:buChar char="■"/>
              <a:defRPr sz="1200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6pPr>
            <a:lvl7pPr marL="3200400" lvl="6" indent="-29845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100"/>
              <a:buFont typeface="Ubuntu Light"/>
              <a:buChar char="●"/>
              <a:defRPr sz="1100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7pPr>
            <a:lvl8pPr marL="3657600" lvl="7" indent="-29845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100"/>
              <a:buFont typeface="Ubuntu Light"/>
              <a:buChar char="○"/>
              <a:defRPr sz="1100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8pPr>
            <a:lvl9pPr marL="4114800" lvl="8" indent="-2921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000"/>
              <a:buFont typeface="Ubuntu Light"/>
              <a:buChar char="■"/>
              <a:defRPr sz="1000">
                <a:solidFill>
                  <a:schemeClr val="lt2"/>
                </a:solidFill>
                <a:latin typeface="Ubuntu Light"/>
                <a:ea typeface="Ubuntu Light"/>
                <a:cs typeface="Ubuntu Light"/>
                <a:sym typeface="Ubuntu Light"/>
              </a:defRPr>
            </a:lvl9pPr>
          </a:lstStyle>
          <a:p>
            <a:endParaRPr dirty="0"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 sz="1200">
                <a:latin typeface="Arvo"/>
                <a:ea typeface="Arvo"/>
                <a:cs typeface="Arvo"/>
                <a:sym typeface="Arvo"/>
              </a:defRPr>
            </a:lvl1pPr>
            <a:lvl2pPr lvl="1" rtl="0">
              <a:buNone/>
              <a:defRPr sz="1200">
                <a:latin typeface="Arvo"/>
                <a:ea typeface="Arvo"/>
                <a:cs typeface="Arvo"/>
                <a:sym typeface="Arvo"/>
              </a:defRPr>
            </a:lvl2pPr>
            <a:lvl3pPr lvl="2" rtl="0">
              <a:buNone/>
              <a:defRPr sz="1200">
                <a:latin typeface="Arvo"/>
                <a:ea typeface="Arvo"/>
                <a:cs typeface="Arvo"/>
                <a:sym typeface="Arvo"/>
              </a:defRPr>
            </a:lvl3pPr>
            <a:lvl4pPr lvl="3" rtl="0">
              <a:buNone/>
              <a:defRPr sz="1200">
                <a:latin typeface="Arvo"/>
                <a:ea typeface="Arvo"/>
                <a:cs typeface="Arvo"/>
                <a:sym typeface="Arvo"/>
              </a:defRPr>
            </a:lvl4pPr>
            <a:lvl5pPr lvl="4" rtl="0">
              <a:buNone/>
              <a:defRPr sz="1200">
                <a:latin typeface="Arvo"/>
                <a:ea typeface="Arvo"/>
                <a:cs typeface="Arvo"/>
                <a:sym typeface="Arvo"/>
              </a:defRPr>
            </a:lvl5pPr>
            <a:lvl6pPr lvl="5" rtl="0">
              <a:buNone/>
              <a:defRPr sz="1200">
                <a:latin typeface="Arvo"/>
                <a:ea typeface="Arvo"/>
                <a:cs typeface="Arvo"/>
                <a:sym typeface="Arvo"/>
              </a:defRPr>
            </a:lvl6pPr>
            <a:lvl7pPr lvl="6" rtl="0">
              <a:buNone/>
              <a:defRPr sz="1200">
                <a:latin typeface="Arvo"/>
                <a:ea typeface="Arvo"/>
                <a:cs typeface="Arvo"/>
                <a:sym typeface="Arvo"/>
              </a:defRPr>
            </a:lvl7pPr>
            <a:lvl8pPr lvl="7" rtl="0">
              <a:buNone/>
              <a:defRPr sz="1200">
                <a:latin typeface="Arvo"/>
                <a:ea typeface="Arvo"/>
                <a:cs typeface="Arvo"/>
                <a:sym typeface="Arvo"/>
              </a:defRPr>
            </a:lvl8pPr>
            <a:lvl9pPr lvl="8" rtl="0">
              <a:buNone/>
              <a:defRPr sz="1200">
                <a:latin typeface="Arvo"/>
                <a:ea typeface="Arvo"/>
                <a:cs typeface="Arvo"/>
                <a:sym typeface="Arvo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"/>
              <a:t>‹#›</a:t>
            </a:fld>
            <a:endParaRPr/>
          </a:p>
        </p:txBody>
      </p:sp>
      <p:sp>
        <p:nvSpPr>
          <p:cNvPr id="5" name="TextBox 4"/>
          <p:cNvSpPr txBox="1"/>
          <p:nvPr userDrawn="1"/>
        </p:nvSpPr>
        <p:spPr>
          <a:xfrm>
            <a:off x="0" y="4706128"/>
            <a:ext cx="232756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tx2">
                    <a:lumMod val="75000"/>
                  </a:schemeClr>
                </a:solidFill>
                <a:latin typeface="Ubuntu" panose="020B0604020202020204" charset="0"/>
              </a:rPr>
              <a:t>Python Hero Academy</a:t>
            </a:r>
            <a:endParaRPr lang="en-US" dirty="0">
              <a:solidFill>
                <a:schemeClr val="tx2">
                  <a:lumMod val="75000"/>
                </a:schemeClr>
              </a:solidFill>
              <a:latin typeface="Ubuntu" panose="020B0604020202020204" charset="0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2" r:id="rId2"/>
    <p:sldLayoutId id="2147483653" r:id="rId3"/>
    <p:sldLayoutId id="2147483654" r:id="rId4"/>
    <p:sldLayoutId id="2147483657" r:id="rId5"/>
    <p:sldLayoutId id="2147483662" r:id="rId6"/>
    <p:sldLayoutId id="2147483664" r:id="rId7"/>
    <p:sldLayoutId id="2147483665" r:id="rId8"/>
  </p:sldLayoutIdLst>
  <p:timing>
    <p:tnLst>
      <p:par>
        <p:cTn id="1" dur="indefinite" restart="never" nodeType="tmRoot"/>
      </p:par>
    </p:tnLst>
  </p:timing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chemeClr val="bg1">
              <a:lumMod val="65000"/>
            </a:schemeClr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Relationship Id="rId4" Type="http://schemas.microsoft.com/office/2007/relationships/hdphoto" Target="../media/hdphoto2.wdp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microsoft.com/office/2007/relationships/hdphoto" Target="../media/hdphoto1.wdp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s" smtClean="0"/>
              <a:pPr/>
              <a:t>1</a:t>
            </a:fld>
            <a:endParaRPr lang="e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17662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" name="Google Shape;239;p36"/>
          <p:cNvSpPr txBox="1">
            <a:spLocks noGrp="1"/>
          </p:cNvSpPr>
          <p:nvPr>
            <p:ph type="body" idx="1"/>
          </p:nvPr>
        </p:nvSpPr>
        <p:spPr>
          <a:xfrm>
            <a:off x="661639" y="1315843"/>
            <a:ext cx="7270595" cy="3233853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85750" indent="-285750" algn="l">
              <a:lnSpc>
                <a:spcPct val="150000"/>
              </a:lnSpc>
            </a:pP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</a:rPr>
              <a:t>An Interpreted language compared to a Compiled one is:</a:t>
            </a:r>
          </a:p>
          <a:p>
            <a:pPr marL="742950" lvl="1" indent="-285750" algn="l">
              <a:lnSpc>
                <a:spcPct val="150000"/>
              </a:lnSpc>
            </a:pP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</a:rPr>
              <a:t>Slower (</a:t>
            </a:r>
            <a:r>
              <a:rPr lang="en-US" sz="1500" b="1" dirty="0" smtClean="0">
                <a:ln w="12700">
                  <a:solidFill>
                    <a:schemeClr val="accent3">
                      <a:lumMod val="50000"/>
                    </a:schemeClr>
                  </a:solidFill>
                  <a:prstDash val="solid"/>
                </a:ln>
                <a:pattFill prst="narHorz">
                  <a:fgClr>
                    <a:schemeClr val="accent3"/>
                  </a:fgClr>
                  <a:bgClr>
                    <a:schemeClr val="accent3">
                      <a:lumMod val="40000"/>
                      <a:lumOff val="60000"/>
                    </a:schemeClr>
                  </a:bgClr>
                </a:pattFill>
                <a:effectLst>
                  <a:innerShdw blurRad="177800">
                    <a:schemeClr val="accent3">
                      <a:lumMod val="50000"/>
                    </a:schemeClr>
                  </a:innerShdw>
                </a:effectLst>
              </a:rPr>
              <a:t>-</a:t>
            </a: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</a:rPr>
              <a:t>)</a:t>
            </a:r>
          </a:p>
          <a:p>
            <a:pPr marL="742950" lvl="1" indent="-285750" algn="l">
              <a:lnSpc>
                <a:spcPct val="150000"/>
              </a:lnSpc>
            </a:pP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</a:rPr>
              <a:t>Less efficient(</a:t>
            </a:r>
            <a:r>
              <a:rPr lang="en-US" sz="1500" b="1" dirty="0" smtClean="0">
                <a:ln w="12700">
                  <a:solidFill>
                    <a:schemeClr val="accent3">
                      <a:lumMod val="50000"/>
                    </a:schemeClr>
                  </a:solidFill>
                  <a:prstDash val="solid"/>
                </a:ln>
                <a:pattFill prst="narHorz">
                  <a:fgClr>
                    <a:schemeClr val="accent3"/>
                  </a:fgClr>
                  <a:bgClr>
                    <a:schemeClr val="accent3">
                      <a:lumMod val="40000"/>
                      <a:lumOff val="60000"/>
                    </a:schemeClr>
                  </a:bgClr>
                </a:pattFill>
                <a:effectLst>
                  <a:innerShdw blurRad="177800">
                    <a:schemeClr val="accent3">
                      <a:lumMod val="50000"/>
                    </a:schemeClr>
                  </a:innerShdw>
                </a:effectLst>
              </a:rPr>
              <a:t>-</a:t>
            </a: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</a:rPr>
              <a:t>)</a:t>
            </a:r>
          </a:p>
          <a:p>
            <a:pPr marL="742950" lvl="1" indent="-285750" algn="l">
              <a:lnSpc>
                <a:spcPct val="150000"/>
              </a:lnSpc>
            </a:pP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</a:rPr>
              <a:t>Gives less control over memory and processing unit(</a:t>
            </a:r>
            <a:r>
              <a:rPr lang="en-US" sz="1500" b="1" dirty="0" smtClean="0">
                <a:ln w="12700">
                  <a:solidFill>
                    <a:schemeClr val="accent3">
                      <a:lumMod val="50000"/>
                    </a:schemeClr>
                  </a:solidFill>
                  <a:prstDash val="solid"/>
                </a:ln>
                <a:pattFill prst="narHorz">
                  <a:fgClr>
                    <a:schemeClr val="accent3"/>
                  </a:fgClr>
                  <a:bgClr>
                    <a:schemeClr val="accent3">
                      <a:lumMod val="40000"/>
                      <a:lumOff val="60000"/>
                    </a:schemeClr>
                  </a:bgClr>
                </a:pattFill>
                <a:effectLst>
                  <a:innerShdw blurRad="177800">
                    <a:schemeClr val="accent3">
                      <a:lumMod val="50000"/>
                    </a:schemeClr>
                  </a:innerShdw>
                </a:effectLst>
              </a:rPr>
              <a:t>-</a:t>
            </a: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</a:rPr>
              <a:t>)</a:t>
            </a:r>
          </a:p>
          <a:p>
            <a:pPr marL="742950" lvl="1" indent="-285750" algn="l">
              <a:lnSpc>
                <a:spcPct val="150000"/>
              </a:lnSpc>
            </a:pP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</a:rPr>
              <a:t>Easier to use(</a:t>
            </a:r>
            <a:r>
              <a:rPr lang="en-US" sz="1500" b="1" dirty="0" smtClean="0">
                <a:ln w="12700">
                  <a:solidFill>
                    <a:schemeClr val="accent3">
                      <a:lumMod val="50000"/>
                    </a:schemeClr>
                  </a:solidFill>
                  <a:prstDash val="solid"/>
                </a:ln>
                <a:pattFill prst="narHorz">
                  <a:fgClr>
                    <a:schemeClr val="accent3"/>
                  </a:fgClr>
                  <a:bgClr>
                    <a:schemeClr val="accent3">
                      <a:lumMod val="40000"/>
                      <a:lumOff val="60000"/>
                    </a:schemeClr>
                  </a:bgClr>
                </a:pattFill>
                <a:effectLst>
                  <a:innerShdw blurRad="177800">
                    <a:schemeClr val="accent3">
                      <a:lumMod val="50000"/>
                    </a:schemeClr>
                  </a:innerShdw>
                </a:effectLst>
              </a:rPr>
              <a:t>+</a:t>
            </a: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</a:rPr>
              <a:t>)</a:t>
            </a:r>
          </a:p>
          <a:p>
            <a:pPr marL="742950" lvl="1" indent="-285750" algn="l">
              <a:lnSpc>
                <a:spcPct val="150000"/>
              </a:lnSpc>
            </a:pP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</a:rPr>
              <a:t>Easier to understand and design algorithms (</a:t>
            </a:r>
            <a:r>
              <a:rPr lang="en-US" sz="1500" b="1" dirty="0" smtClean="0">
                <a:ln w="12700">
                  <a:solidFill>
                    <a:schemeClr val="accent3">
                      <a:lumMod val="50000"/>
                    </a:schemeClr>
                  </a:solidFill>
                  <a:prstDash val="solid"/>
                </a:ln>
                <a:pattFill prst="narHorz">
                  <a:fgClr>
                    <a:schemeClr val="accent3"/>
                  </a:fgClr>
                  <a:bgClr>
                    <a:schemeClr val="accent3">
                      <a:lumMod val="40000"/>
                      <a:lumOff val="60000"/>
                    </a:schemeClr>
                  </a:bgClr>
                </a:pattFill>
                <a:effectLst>
                  <a:innerShdw blurRad="177800">
                    <a:schemeClr val="accent3">
                      <a:lumMod val="50000"/>
                    </a:schemeClr>
                  </a:innerShdw>
                </a:effectLst>
              </a:rPr>
              <a:t>+</a:t>
            </a: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</a:rPr>
              <a:t>)</a:t>
            </a:r>
          </a:p>
          <a:p>
            <a:pPr marL="742950" lvl="1" indent="-285750" algn="l">
              <a:lnSpc>
                <a:spcPct val="150000"/>
              </a:lnSpc>
            </a:pPr>
            <a:endParaRPr lang="en-US" sz="1500" dirty="0" smtClean="0">
              <a:solidFill>
                <a:schemeClr val="tx1">
                  <a:lumMod val="25000"/>
                </a:schemeClr>
              </a:solidFill>
            </a:endParaRPr>
          </a:p>
        </p:txBody>
      </p:sp>
      <p:sp>
        <p:nvSpPr>
          <p:cNvPr id="240" name="Google Shape;240;p36"/>
          <p:cNvSpPr txBox="1">
            <a:spLocks noGrp="1"/>
          </p:cNvSpPr>
          <p:nvPr>
            <p:ph type="title"/>
          </p:nvPr>
        </p:nvSpPr>
        <p:spPr>
          <a:xfrm>
            <a:off x="0" y="216225"/>
            <a:ext cx="9144000" cy="913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sz="2400" dirty="0"/>
              <a:t>Interpreted vs Compiled languages</a:t>
            </a:r>
          </a:p>
        </p:txBody>
      </p:sp>
      <p:sp>
        <p:nvSpPr>
          <p:cNvPr id="241" name="Google Shape;241;p36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fld id="{00000000-1234-1234-1234-123412341234}" type="slidenum">
              <a:rPr lang="es"/>
              <a:t>10</a:t>
            </a:fld>
            <a:endParaRPr/>
          </a:p>
        </p:txBody>
      </p:sp>
      <p:sp>
        <p:nvSpPr>
          <p:cNvPr id="2" name="TextBox 1"/>
          <p:cNvSpPr txBox="1"/>
          <p:nvPr/>
        </p:nvSpPr>
        <p:spPr>
          <a:xfrm rot="1349622">
            <a:off x="5630561" y="3495987"/>
            <a:ext cx="327735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400" b="1" dirty="0" smtClean="0">
                <a:latin typeface="Freestyle Script" panose="030804020302050B0404" pitchFamily="66" charset="0"/>
              </a:rPr>
              <a:t>Python is a high-level Interpreted language.</a:t>
            </a:r>
            <a:endParaRPr lang="en-US" sz="2400" b="1" dirty="0">
              <a:latin typeface="Freestyle Script" panose="030804020302050B0404" pitchFamily="66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63580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3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3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3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3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s" smtClean="0"/>
              <a:pPr/>
              <a:t>11</a:t>
            </a:fld>
            <a:endParaRPr lang="es"/>
          </a:p>
        </p:txBody>
      </p:sp>
      <p:sp>
        <p:nvSpPr>
          <p:cNvPr id="2" name="TextBox 1"/>
          <p:cNvSpPr txBox="1"/>
          <p:nvPr/>
        </p:nvSpPr>
        <p:spPr>
          <a:xfrm>
            <a:off x="1620644" y="527824"/>
            <a:ext cx="5776332" cy="25237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Freestyle Script" panose="030804020302050B0404" pitchFamily="66" charset="0"/>
              </a:rPr>
              <a:t>Thanks!</a:t>
            </a:r>
          </a:p>
          <a:p>
            <a:pPr algn="ctr"/>
            <a:r>
              <a:rPr lang="en-US" sz="360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Freestyle Script" panose="030804020302050B0404" pitchFamily="66" charset="0"/>
              </a:rPr>
              <a:t>Got any questions or suggestions?</a:t>
            </a:r>
          </a:p>
          <a:p>
            <a:pPr algn="ctr"/>
            <a:r>
              <a:rPr lang="en-US" sz="360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Freestyle Script" panose="030804020302050B0404" pitchFamily="66" charset="0"/>
              </a:rPr>
              <a:t>Here’s some contact info:</a:t>
            </a:r>
          </a:p>
          <a:p>
            <a:pPr algn="ctr"/>
            <a:r>
              <a:rPr lang="en-US" sz="360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Freestyle Script" panose="030804020302050B0404" pitchFamily="66" charset="0"/>
              </a:rPr>
              <a:t>@</a:t>
            </a:r>
            <a:r>
              <a:rPr lang="en-US" sz="360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Freestyle Script" panose="030804020302050B0404" pitchFamily="66" charset="0"/>
              </a:rPr>
              <a:t>KMasoumi</a:t>
            </a:r>
            <a:endParaRPr lang="en-US" sz="3600" dirty="0" smtClean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Freestyle Script" panose="030804020302050B0404" pitchFamily="66" charset="0"/>
            </a:endParaRPr>
          </a:p>
          <a:p>
            <a:pPr algn="ctr"/>
            <a:endParaRPr lang="en-US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3869" y="2720898"/>
            <a:ext cx="1709882" cy="1709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88791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" name="Google Shape;210;p32"/>
          <p:cNvSpPr txBox="1">
            <a:spLocks noGrp="1"/>
          </p:cNvSpPr>
          <p:nvPr>
            <p:ph type="title"/>
          </p:nvPr>
        </p:nvSpPr>
        <p:spPr>
          <a:xfrm>
            <a:off x="570046" y="993900"/>
            <a:ext cx="3816099" cy="11145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sz="6000" b="1" dirty="0" smtClean="0"/>
              <a:t>Welcome!</a:t>
            </a:r>
            <a:endParaRPr sz="6000" b="1" dirty="0"/>
          </a:p>
        </p:txBody>
      </p:sp>
      <p:sp>
        <p:nvSpPr>
          <p:cNvPr id="211" name="Google Shape;211;p32"/>
          <p:cNvSpPr txBox="1">
            <a:spLocks noGrp="1"/>
          </p:cNvSpPr>
          <p:nvPr>
            <p:ph type="subTitle" idx="1"/>
          </p:nvPr>
        </p:nvSpPr>
        <p:spPr>
          <a:xfrm>
            <a:off x="624469" y="2084194"/>
            <a:ext cx="3687336" cy="2376294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just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s" sz="1500" dirty="0" smtClean="0"/>
              <a:t>Welcome to the Python Hero Academ</a:t>
            </a:r>
            <a:r>
              <a:rPr lang="en-US" sz="1500" dirty="0" smtClean="0"/>
              <a:t>y.</a:t>
            </a:r>
          </a:p>
          <a:p>
            <a:pPr marL="0" lvl="0" indent="0" algn="just">
              <a:lnSpc>
                <a:spcPct val="150000"/>
              </a:lnSpc>
              <a:buClr>
                <a:srgbClr val="000000"/>
              </a:buClr>
              <a:buSzPts val="1100"/>
            </a:pPr>
            <a:r>
              <a:rPr lang="en-US" sz="1500" dirty="0"/>
              <a:t>In this course, you'll learn </a:t>
            </a:r>
            <a:r>
              <a:rPr lang="en-US" sz="1500" dirty="0" smtClean="0"/>
              <a:t>programming </a:t>
            </a:r>
            <a:r>
              <a:rPr lang="en-US" sz="1500" dirty="0"/>
              <a:t>with python from basics to advanced. Take a </a:t>
            </a:r>
            <a:r>
              <a:rPr lang="en-US" sz="1500" b="1" i="1" u="sng" dirty="0"/>
              <a:t>real college-like </a:t>
            </a:r>
            <a:r>
              <a:rPr lang="en-US" sz="1500" dirty="0"/>
              <a:t>course without the limitations of one!</a:t>
            </a:r>
            <a:endParaRPr lang="fa-IR" sz="1500" dirty="0" smtClean="0"/>
          </a:p>
        </p:txBody>
      </p:sp>
      <p:sp>
        <p:nvSpPr>
          <p:cNvPr id="212" name="Google Shape;212;p32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fld id="{00000000-1234-1234-1234-123412341234}" type="slidenum">
              <a:rPr lang="es"/>
              <a:t>2</a:t>
            </a:fld>
            <a:endParaRPr/>
          </a:p>
        </p:txBody>
      </p:sp>
      <p:cxnSp>
        <p:nvCxnSpPr>
          <p:cNvPr id="213" name="Google Shape;213;p32"/>
          <p:cNvCxnSpPr/>
          <p:nvPr/>
        </p:nvCxnSpPr>
        <p:spPr>
          <a:xfrm>
            <a:off x="678525" y="2060575"/>
            <a:ext cx="676200" cy="0"/>
          </a:xfrm>
          <a:prstGeom prst="straightConnector1">
            <a:avLst/>
          </a:prstGeom>
          <a:noFill/>
          <a:ln w="76200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3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683250" y="449787"/>
            <a:ext cx="3954618" cy="4070521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p34"/>
          <p:cNvSpPr txBox="1">
            <a:spLocks noGrp="1"/>
          </p:cNvSpPr>
          <p:nvPr>
            <p:ph type="subTitle" idx="1"/>
          </p:nvPr>
        </p:nvSpPr>
        <p:spPr>
          <a:xfrm>
            <a:off x="1894475" y="1126950"/>
            <a:ext cx="5397600" cy="2100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s" sz="2700" dirty="0" smtClean="0"/>
              <a:t>“</a:t>
            </a:r>
            <a:r>
              <a:rPr lang="en-US" sz="2700" dirty="0" smtClean="0"/>
              <a:t>Everybody should learn how to program a computer, because it teaches you how to think.”</a:t>
            </a:r>
            <a:endParaRPr sz="2700" b="1" i="0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700" i="0" dirty="0"/>
          </a:p>
        </p:txBody>
      </p:sp>
      <p:sp>
        <p:nvSpPr>
          <p:cNvPr id="227" name="Google Shape;227;p34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fld id="{00000000-1234-1234-1234-123412341234}" type="slidenum">
              <a:rPr lang="es"/>
              <a:t>3</a:t>
            </a:fld>
            <a:endParaRPr/>
          </a:p>
        </p:txBody>
      </p:sp>
      <p:sp>
        <p:nvSpPr>
          <p:cNvPr id="228" name="Google Shape;228;p34"/>
          <p:cNvSpPr txBox="1">
            <a:spLocks noGrp="1"/>
          </p:cNvSpPr>
          <p:nvPr>
            <p:ph type="subTitle" idx="2"/>
          </p:nvPr>
        </p:nvSpPr>
        <p:spPr>
          <a:xfrm>
            <a:off x="1894475" y="2843585"/>
            <a:ext cx="2920800" cy="578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dirty="0" smtClean="0">
                <a:solidFill>
                  <a:schemeClr val="lt1"/>
                </a:solidFill>
              </a:rPr>
              <a:t>—Steve Jobs</a:t>
            </a:r>
            <a:endParaRPr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" name="Google Shape;195;p31"/>
          <p:cNvSpPr txBox="1">
            <a:spLocks noGrp="1"/>
          </p:cNvSpPr>
          <p:nvPr>
            <p:ph type="title"/>
          </p:nvPr>
        </p:nvSpPr>
        <p:spPr>
          <a:xfrm>
            <a:off x="4698275" y="189950"/>
            <a:ext cx="5311200" cy="11145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/>
              <a:t>Contents</a:t>
            </a:r>
            <a:endParaRPr/>
          </a:p>
        </p:txBody>
      </p:sp>
      <p:sp>
        <p:nvSpPr>
          <p:cNvPr id="196" name="Google Shape;196;p31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fld id="{00000000-1234-1234-1234-123412341234}" type="slidenum">
              <a:rPr lang="es"/>
              <a:t>4</a:t>
            </a:fld>
            <a:endParaRPr/>
          </a:p>
        </p:txBody>
      </p:sp>
      <p:sp>
        <p:nvSpPr>
          <p:cNvPr id="197" name="Google Shape;197;p31"/>
          <p:cNvSpPr txBox="1">
            <a:spLocks noGrp="1"/>
          </p:cNvSpPr>
          <p:nvPr>
            <p:ph type="title" idx="2"/>
          </p:nvPr>
        </p:nvSpPr>
        <p:spPr>
          <a:xfrm>
            <a:off x="4696225" y="1198788"/>
            <a:ext cx="5311200" cy="6825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What is a programming language?</a:t>
            </a:r>
            <a:endParaRPr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98" name="Google Shape;198;p31"/>
          <p:cNvSpPr txBox="1">
            <a:spLocks noGrp="1"/>
          </p:cNvSpPr>
          <p:nvPr>
            <p:ph type="subTitle" idx="3"/>
          </p:nvPr>
        </p:nvSpPr>
        <p:spPr>
          <a:xfrm>
            <a:off x="4696224" y="2836672"/>
            <a:ext cx="3367200" cy="578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indent="0"/>
            <a:r>
              <a:rPr lang="en-US" i="1" dirty="0" smtClean="0"/>
              <a:t>What they are and a simple comparison between them</a:t>
            </a:r>
            <a:endParaRPr lang="en-US" i="1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99" name="Google Shape;199;p31"/>
          <p:cNvSpPr txBox="1">
            <a:spLocks noGrp="1"/>
          </p:cNvSpPr>
          <p:nvPr>
            <p:ph type="title" idx="4"/>
          </p:nvPr>
        </p:nvSpPr>
        <p:spPr>
          <a:xfrm>
            <a:off x="4696225" y="2326013"/>
            <a:ext cx="5311200" cy="6825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dirty="0" smtClean="0"/>
              <a:t>High level vs Low level languages</a:t>
            </a:r>
            <a:endParaRPr dirty="0"/>
          </a:p>
        </p:txBody>
      </p:sp>
      <p:sp>
        <p:nvSpPr>
          <p:cNvPr id="200" name="Google Shape;200;p31"/>
          <p:cNvSpPr txBox="1">
            <a:spLocks noGrp="1"/>
          </p:cNvSpPr>
          <p:nvPr>
            <p:ph type="subTitle" idx="1"/>
          </p:nvPr>
        </p:nvSpPr>
        <p:spPr>
          <a:xfrm>
            <a:off x="4696224" y="1709442"/>
            <a:ext cx="3367200" cy="578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i="1" dirty="0" smtClean="0">
                <a:solidFill>
                  <a:schemeClr val="bg1">
                    <a:lumMod val="50000"/>
                  </a:schemeClr>
                </a:solidFill>
              </a:rPr>
              <a:t>A very simple description of what programming languages are</a:t>
            </a:r>
            <a:endParaRPr i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01" name="Google Shape;201;p31"/>
          <p:cNvSpPr txBox="1">
            <a:spLocks noGrp="1"/>
          </p:cNvSpPr>
          <p:nvPr>
            <p:ph type="subTitle" idx="5"/>
          </p:nvPr>
        </p:nvSpPr>
        <p:spPr>
          <a:xfrm>
            <a:off x="4696224" y="3967490"/>
            <a:ext cx="3367200" cy="578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indent="0"/>
            <a:r>
              <a:rPr lang="en-US" i="1" dirty="0"/>
              <a:t>What they are and a simple comparison between them</a:t>
            </a:r>
          </a:p>
        </p:txBody>
      </p:sp>
      <p:sp>
        <p:nvSpPr>
          <p:cNvPr id="202" name="Google Shape;202;p31"/>
          <p:cNvSpPr txBox="1">
            <a:spLocks noGrp="1"/>
          </p:cNvSpPr>
          <p:nvPr>
            <p:ph type="title" idx="6"/>
          </p:nvPr>
        </p:nvSpPr>
        <p:spPr>
          <a:xfrm>
            <a:off x="4696225" y="3453254"/>
            <a:ext cx="5311200" cy="6825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dirty="0" smtClean="0"/>
              <a:t>Interpreted vs Compiled languages</a:t>
            </a:r>
            <a:endParaRPr dirty="0"/>
          </a:p>
        </p:txBody>
      </p:sp>
      <p:sp>
        <p:nvSpPr>
          <p:cNvPr id="203" name="Google Shape;203;p31"/>
          <p:cNvSpPr txBox="1">
            <a:spLocks noGrp="1"/>
          </p:cNvSpPr>
          <p:nvPr>
            <p:ph type="title" idx="7"/>
          </p:nvPr>
        </p:nvSpPr>
        <p:spPr>
          <a:xfrm>
            <a:off x="3372225" y="1518275"/>
            <a:ext cx="1258800" cy="635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dirty="0"/>
              <a:t>1</a:t>
            </a:r>
            <a:endParaRPr dirty="0"/>
          </a:p>
        </p:txBody>
      </p:sp>
      <p:sp>
        <p:nvSpPr>
          <p:cNvPr id="204" name="Google Shape;204;p31"/>
          <p:cNvSpPr txBox="1">
            <a:spLocks noGrp="1"/>
          </p:cNvSpPr>
          <p:nvPr>
            <p:ph type="title" idx="8"/>
          </p:nvPr>
        </p:nvSpPr>
        <p:spPr>
          <a:xfrm>
            <a:off x="3372225" y="2645500"/>
            <a:ext cx="1258800" cy="635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dirty="0"/>
              <a:t>2</a:t>
            </a:r>
            <a:endParaRPr dirty="0"/>
          </a:p>
        </p:txBody>
      </p:sp>
      <p:sp>
        <p:nvSpPr>
          <p:cNvPr id="205" name="Google Shape;205;p31"/>
          <p:cNvSpPr txBox="1">
            <a:spLocks noGrp="1"/>
          </p:cNvSpPr>
          <p:nvPr>
            <p:ph type="title" idx="9"/>
          </p:nvPr>
        </p:nvSpPr>
        <p:spPr>
          <a:xfrm>
            <a:off x="3372225" y="3772725"/>
            <a:ext cx="1258800" cy="635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/>
              <a:t>3</a:t>
            </a:r>
            <a:endParaRPr/>
          </a:p>
        </p:txBody>
      </p:sp>
      <p:grpSp>
        <p:nvGrpSpPr>
          <p:cNvPr id="13" name="Check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2952428" y="1540038"/>
            <a:ext cx="573617" cy="542925"/>
            <a:chOff x="2875" y="1062"/>
            <a:chExt cx="2168" cy="2052"/>
          </a:xfrm>
          <a:solidFill>
            <a:schemeClr val="accent1"/>
          </a:solidFill>
        </p:grpSpPr>
        <p:sp>
          <p:nvSpPr>
            <p:cNvPr id="14" name="Freeform 240"/>
            <p:cNvSpPr>
              <a:spLocks/>
            </p:cNvSpPr>
            <p:nvPr/>
          </p:nvSpPr>
          <p:spPr bwMode="auto">
            <a:xfrm>
              <a:off x="3276" y="1062"/>
              <a:ext cx="1767" cy="1523"/>
            </a:xfrm>
            <a:custGeom>
              <a:avLst/>
              <a:gdLst>
                <a:gd name="T0" fmla="*/ 407 w 445"/>
                <a:gd name="T1" fmla="*/ 0 h 383"/>
                <a:gd name="T2" fmla="*/ 389 w 445"/>
                <a:gd name="T3" fmla="*/ 5 h 383"/>
                <a:gd name="T4" fmla="*/ 134 w 445"/>
                <a:gd name="T5" fmla="*/ 287 h 383"/>
                <a:gd name="T6" fmla="*/ 64 w 445"/>
                <a:gd name="T7" fmla="*/ 196 h 383"/>
                <a:gd name="T8" fmla="*/ 38 w 445"/>
                <a:gd name="T9" fmla="*/ 183 h 383"/>
                <a:gd name="T10" fmla="*/ 18 w 445"/>
                <a:gd name="T11" fmla="*/ 190 h 383"/>
                <a:gd name="T12" fmla="*/ 11 w 445"/>
                <a:gd name="T13" fmla="*/ 237 h 383"/>
                <a:gd name="T14" fmla="*/ 113 w 445"/>
                <a:gd name="T15" fmla="*/ 370 h 383"/>
                <a:gd name="T16" fmla="*/ 140 w 445"/>
                <a:gd name="T17" fmla="*/ 383 h 383"/>
                <a:gd name="T18" fmla="*/ 144 w 445"/>
                <a:gd name="T19" fmla="*/ 383 h 383"/>
                <a:gd name="T20" fmla="*/ 170 w 445"/>
                <a:gd name="T21" fmla="*/ 363 h 383"/>
                <a:gd name="T22" fmla="*/ 425 w 445"/>
                <a:gd name="T23" fmla="*/ 61 h 383"/>
                <a:gd name="T24" fmla="*/ 435 w 445"/>
                <a:gd name="T25" fmla="*/ 15 h 383"/>
                <a:gd name="T26" fmla="*/ 407 w 445"/>
                <a:gd name="T27" fmla="*/ 0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5" h="383">
                  <a:moveTo>
                    <a:pt x="407" y="0"/>
                  </a:moveTo>
                  <a:cubicBezTo>
                    <a:pt x="401" y="0"/>
                    <a:pt x="395" y="1"/>
                    <a:pt x="389" y="5"/>
                  </a:cubicBezTo>
                  <a:cubicBezTo>
                    <a:pt x="256" y="91"/>
                    <a:pt x="173" y="218"/>
                    <a:pt x="134" y="287"/>
                  </a:cubicBezTo>
                  <a:lnTo>
                    <a:pt x="64" y="196"/>
                  </a:lnTo>
                  <a:cubicBezTo>
                    <a:pt x="58" y="188"/>
                    <a:pt x="48" y="183"/>
                    <a:pt x="38" y="183"/>
                  </a:cubicBezTo>
                  <a:cubicBezTo>
                    <a:pt x="31" y="183"/>
                    <a:pt x="24" y="185"/>
                    <a:pt x="18" y="190"/>
                  </a:cubicBezTo>
                  <a:cubicBezTo>
                    <a:pt x="3" y="201"/>
                    <a:pt x="0" y="222"/>
                    <a:pt x="11" y="237"/>
                  </a:cubicBezTo>
                  <a:lnTo>
                    <a:pt x="113" y="370"/>
                  </a:lnTo>
                  <a:cubicBezTo>
                    <a:pt x="120" y="378"/>
                    <a:pt x="130" y="383"/>
                    <a:pt x="140" y="383"/>
                  </a:cubicBezTo>
                  <a:cubicBezTo>
                    <a:pt x="141" y="383"/>
                    <a:pt x="143" y="383"/>
                    <a:pt x="144" y="383"/>
                  </a:cubicBezTo>
                  <a:cubicBezTo>
                    <a:pt x="156" y="381"/>
                    <a:pt x="166" y="374"/>
                    <a:pt x="170" y="363"/>
                  </a:cubicBezTo>
                  <a:cubicBezTo>
                    <a:pt x="171" y="361"/>
                    <a:pt x="255" y="171"/>
                    <a:pt x="425" y="61"/>
                  </a:cubicBezTo>
                  <a:cubicBezTo>
                    <a:pt x="441" y="51"/>
                    <a:pt x="445" y="30"/>
                    <a:pt x="435" y="15"/>
                  </a:cubicBezTo>
                  <a:cubicBezTo>
                    <a:pt x="429" y="5"/>
                    <a:pt x="418" y="0"/>
                    <a:pt x="407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Freeform 241"/>
            <p:cNvSpPr>
              <a:spLocks/>
            </p:cNvSpPr>
            <p:nvPr/>
          </p:nvSpPr>
          <p:spPr bwMode="auto">
            <a:xfrm>
              <a:off x="2875" y="1261"/>
              <a:ext cx="1854" cy="1853"/>
            </a:xfrm>
            <a:custGeom>
              <a:avLst/>
              <a:gdLst>
                <a:gd name="T0" fmla="*/ 400 w 467"/>
                <a:gd name="T1" fmla="*/ 172 h 466"/>
                <a:gd name="T2" fmla="*/ 400 w 467"/>
                <a:gd name="T3" fmla="*/ 400 h 466"/>
                <a:gd name="T4" fmla="*/ 67 w 467"/>
                <a:gd name="T5" fmla="*/ 400 h 466"/>
                <a:gd name="T6" fmla="*/ 67 w 467"/>
                <a:gd name="T7" fmla="*/ 66 h 466"/>
                <a:gd name="T8" fmla="*/ 315 w 467"/>
                <a:gd name="T9" fmla="*/ 66 h 466"/>
                <a:gd name="T10" fmla="*/ 379 w 467"/>
                <a:gd name="T11" fmla="*/ 0 h 466"/>
                <a:gd name="T12" fmla="*/ 67 w 467"/>
                <a:gd name="T13" fmla="*/ 0 h 466"/>
                <a:gd name="T14" fmla="*/ 0 w 467"/>
                <a:gd name="T15" fmla="*/ 66 h 466"/>
                <a:gd name="T16" fmla="*/ 0 w 467"/>
                <a:gd name="T17" fmla="*/ 400 h 466"/>
                <a:gd name="T18" fmla="*/ 67 w 467"/>
                <a:gd name="T19" fmla="*/ 466 h 466"/>
                <a:gd name="T20" fmla="*/ 400 w 467"/>
                <a:gd name="T21" fmla="*/ 466 h 466"/>
                <a:gd name="T22" fmla="*/ 467 w 467"/>
                <a:gd name="T23" fmla="*/ 400 h 466"/>
                <a:gd name="T24" fmla="*/ 467 w 467"/>
                <a:gd name="T25" fmla="*/ 100 h 466"/>
                <a:gd name="T26" fmla="*/ 400 w 467"/>
                <a:gd name="T27" fmla="*/ 172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67" h="466">
                  <a:moveTo>
                    <a:pt x="400" y="172"/>
                  </a:moveTo>
                  <a:lnTo>
                    <a:pt x="400" y="400"/>
                  </a:lnTo>
                  <a:lnTo>
                    <a:pt x="67" y="400"/>
                  </a:lnTo>
                  <a:lnTo>
                    <a:pt x="67" y="66"/>
                  </a:lnTo>
                  <a:lnTo>
                    <a:pt x="315" y="66"/>
                  </a:lnTo>
                  <a:cubicBezTo>
                    <a:pt x="334" y="44"/>
                    <a:pt x="355" y="22"/>
                    <a:pt x="379" y="0"/>
                  </a:cubicBezTo>
                  <a:lnTo>
                    <a:pt x="67" y="0"/>
                  </a:lnTo>
                  <a:cubicBezTo>
                    <a:pt x="30" y="0"/>
                    <a:pt x="0" y="30"/>
                    <a:pt x="0" y="66"/>
                  </a:cubicBezTo>
                  <a:lnTo>
                    <a:pt x="0" y="400"/>
                  </a:lnTo>
                  <a:cubicBezTo>
                    <a:pt x="0" y="436"/>
                    <a:pt x="30" y="466"/>
                    <a:pt x="67" y="466"/>
                  </a:cubicBezTo>
                  <a:lnTo>
                    <a:pt x="400" y="466"/>
                  </a:lnTo>
                  <a:cubicBezTo>
                    <a:pt x="437" y="466"/>
                    <a:pt x="467" y="436"/>
                    <a:pt x="467" y="400"/>
                  </a:cubicBezTo>
                  <a:lnTo>
                    <a:pt x="467" y="100"/>
                  </a:lnTo>
                  <a:cubicBezTo>
                    <a:pt x="442" y="124"/>
                    <a:pt x="419" y="148"/>
                    <a:pt x="400" y="17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" name="Google Shape;239;p36"/>
          <p:cNvSpPr txBox="1">
            <a:spLocks noGrp="1"/>
          </p:cNvSpPr>
          <p:nvPr>
            <p:ph type="body" idx="1"/>
          </p:nvPr>
        </p:nvSpPr>
        <p:spPr>
          <a:xfrm>
            <a:off x="981307" y="1360448"/>
            <a:ext cx="7270595" cy="3233853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85750" indent="-285750" algn="l">
              <a:lnSpc>
                <a:spcPct val="150000"/>
              </a:lnSpc>
            </a:pPr>
            <a:r>
              <a:rPr lang="en-US" sz="1500" dirty="0">
                <a:solidFill>
                  <a:schemeClr val="tx1">
                    <a:lumMod val="25000"/>
                  </a:schemeClr>
                </a:solidFill>
              </a:rPr>
              <a:t>A language (like any other languages</a:t>
            </a: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</a:rPr>
              <a:t>)</a:t>
            </a:r>
          </a:p>
          <a:p>
            <a:pPr marL="285750" indent="-285750" algn="l">
              <a:lnSpc>
                <a:spcPct val="150000"/>
              </a:lnSpc>
            </a:pP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</a:rPr>
              <a:t>Contains vocabulary and grammar rules </a:t>
            </a:r>
          </a:p>
          <a:p>
            <a:pPr marL="285750" indent="-285750" algn="l">
              <a:lnSpc>
                <a:spcPct val="150000"/>
              </a:lnSpc>
            </a:pP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</a:rPr>
              <a:t>Many different divisions for programming languages such as </a:t>
            </a:r>
          </a:p>
          <a:p>
            <a:pPr marL="742950" lvl="1" indent="-285750" algn="l">
              <a:lnSpc>
                <a:spcPct val="150000"/>
              </a:lnSpc>
            </a:pP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</a:rPr>
              <a:t>High level vs Low level languages</a:t>
            </a:r>
          </a:p>
          <a:p>
            <a:pPr marL="742950" lvl="1" indent="-285750" algn="l">
              <a:lnSpc>
                <a:spcPct val="150000"/>
              </a:lnSpc>
            </a:pP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</a:rPr>
              <a:t>Compiled vs Interpreted</a:t>
            </a:r>
          </a:p>
          <a:p>
            <a:pPr marL="742950" lvl="1" indent="-285750" algn="l">
              <a:lnSpc>
                <a:spcPct val="150000"/>
              </a:lnSpc>
            </a:pP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</a:rPr>
              <a:t>Imperative vs Declarative</a:t>
            </a:r>
          </a:p>
          <a:p>
            <a:pPr marL="742950" lvl="1" indent="-285750" algn="l">
              <a:lnSpc>
                <a:spcPct val="150000"/>
              </a:lnSpc>
            </a:pP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</a:rPr>
              <a:t>Functional </a:t>
            </a:r>
            <a:r>
              <a:rPr lang="en-US" sz="1500" dirty="0">
                <a:solidFill>
                  <a:schemeClr val="tx1">
                    <a:lumMod val="25000"/>
                  </a:schemeClr>
                </a:solidFill>
              </a:rPr>
              <a:t>Programming Language</a:t>
            </a: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</a:rPr>
              <a:t>, Object-oriented</a:t>
            </a:r>
            <a:r>
              <a:rPr lang="en-US" sz="1500" dirty="0">
                <a:solidFill>
                  <a:schemeClr val="tx1">
                    <a:lumMod val="25000"/>
                  </a:schemeClr>
                </a:solidFill>
              </a:rPr>
              <a:t> Programming Language</a:t>
            </a: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</a:rPr>
              <a:t>, Logic Programming Language</a:t>
            </a:r>
            <a:r>
              <a:rPr lang="en-US" sz="1500" dirty="0">
                <a:solidFill>
                  <a:schemeClr val="tx1">
                    <a:lumMod val="25000"/>
                  </a:schemeClr>
                </a:solidFill>
              </a:rPr>
              <a:t> </a:t>
            </a: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</a:rPr>
              <a:t>and etc.</a:t>
            </a:r>
            <a:endParaRPr lang="en-US" sz="1500" dirty="0">
              <a:solidFill>
                <a:schemeClr val="tx1">
                  <a:lumMod val="25000"/>
                </a:schemeClr>
              </a:solidFill>
            </a:endParaRPr>
          </a:p>
        </p:txBody>
      </p:sp>
      <p:sp>
        <p:nvSpPr>
          <p:cNvPr id="240" name="Google Shape;240;p36"/>
          <p:cNvSpPr txBox="1">
            <a:spLocks noGrp="1"/>
          </p:cNvSpPr>
          <p:nvPr>
            <p:ph type="title"/>
          </p:nvPr>
        </p:nvSpPr>
        <p:spPr>
          <a:xfrm>
            <a:off x="0" y="216225"/>
            <a:ext cx="9144000" cy="913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sz="2400" dirty="0"/>
              <a:t>What is a programming language?</a:t>
            </a:r>
          </a:p>
        </p:txBody>
      </p:sp>
      <p:sp>
        <p:nvSpPr>
          <p:cNvPr id="241" name="Google Shape;241;p36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fld id="{00000000-1234-1234-1234-123412341234}" type="slidenum">
              <a:rPr lang="es"/>
              <a:t>5</a:t>
            </a:fld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3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3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3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3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3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3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9" grpId="0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" name="Google Shape;195;p31"/>
          <p:cNvSpPr txBox="1">
            <a:spLocks noGrp="1"/>
          </p:cNvSpPr>
          <p:nvPr>
            <p:ph type="title"/>
          </p:nvPr>
        </p:nvSpPr>
        <p:spPr>
          <a:xfrm>
            <a:off x="4698275" y="189950"/>
            <a:ext cx="5311200" cy="11145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/>
              <a:t>Contents</a:t>
            </a:r>
            <a:endParaRPr/>
          </a:p>
        </p:txBody>
      </p:sp>
      <p:sp>
        <p:nvSpPr>
          <p:cNvPr id="196" name="Google Shape;196;p31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fld id="{00000000-1234-1234-1234-123412341234}" type="slidenum">
              <a:rPr lang="es"/>
              <a:t>6</a:t>
            </a:fld>
            <a:endParaRPr/>
          </a:p>
        </p:txBody>
      </p:sp>
      <p:sp>
        <p:nvSpPr>
          <p:cNvPr id="197" name="Google Shape;197;p31"/>
          <p:cNvSpPr txBox="1">
            <a:spLocks noGrp="1"/>
          </p:cNvSpPr>
          <p:nvPr>
            <p:ph type="title" idx="2"/>
          </p:nvPr>
        </p:nvSpPr>
        <p:spPr>
          <a:xfrm>
            <a:off x="4696225" y="1198788"/>
            <a:ext cx="5311200" cy="6825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 smtClean="0"/>
              <a:t>What is a programming language?</a:t>
            </a:r>
            <a:endParaRPr dirty="0"/>
          </a:p>
        </p:txBody>
      </p:sp>
      <p:sp>
        <p:nvSpPr>
          <p:cNvPr id="198" name="Google Shape;198;p31"/>
          <p:cNvSpPr txBox="1">
            <a:spLocks noGrp="1"/>
          </p:cNvSpPr>
          <p:nvPr>
            <p:ph type="subTitle" idx="3"/>
          </p:nvPr>
        </p:nvSpPr>
        <p:spPr>
          <a:xfrm>
            <a:off x="4696224" y="2836672"/>
            <a:ext cx="3367200" cy="578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indent="0"/>
            <a:r>
              <a:rPr lang="en-US" i="1" dirty="0" smtClean="0"/>
              <a:t>What they are and a simple comparison between them</a:t>
            </a:r>
            <a:endParaRPr lang="en-US" i="1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99" name="Google Shape;199;p31"/>
          <p:cNvSpPr txBox="1">
            <a:spLocks noGrp="1"/>
          </p:cNvSpPr>
          <p:nvPr>
            <p:ph type="title" idx="4"/>
          </p:nvPr>
        </p:nvSpPr>
        <p:spPr>
          <a:xfrm>
            <a:off x="4696225" y="2326013"/>
            <a:ext cx="5311200" cy="6825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dirty="0" smtClean="0">
                <a:solidFill>
                  <a:schemeClr val="bg1">
                    <a:lumMod val="50000"/>
                  </a:schemeClr>
                </a:solidFill>
              </a:rPr>
              <a:t>High level vs Low level languages</a:t>
            </a:r>
            <a:endParaRPr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00" name="Google Shape;200;p31"/>
          <p:cNvSpPr txBox="1">
            <a:spLocks noGrp="1"/>
          </p:cNvSpPr>
          <p:nvPr>
            <p:ph type="subTitle" idx="1"/>
          </p:nvPr>
        </p:nvSpPr>
        <p:spPr>
          <a:xfrm>
            <a:off x="4696224" y="1709442"/>
            <a:ext cx="3367200" cy="578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i="1" dirty="0" smtClean="0">
                <a:solidFill>
                  <a:schemeClr val="bg1">
                    <a:lumMod val="50000"/>
                  </a:schemeClr>
                </a:solidFill>
              </a:rPr>
              <a:t>A very simple description of what programming languages are</a:t>
            </a:r>
            <a:endParaRPr i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01" name="Google Shape;201;p31"/>
          <p:cNvSpPr txBox="1">
            <a:spLocks noGrp="1"/>
          </p:cNvSpPr>
          <p:nvPr>
            <p:ph type="subTitle" idx="5"/>
          </p:nvPr>
        </p:nvSpPr>
        <p:spPr>
          <a:xfrm>
            <a:off x="4696224" y="3967490"/>
            <a:ext cx="3367200" cy="578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indent="0"/>
            <a:r>
              <a:rPr lang="en-US" i="1" dirty="0"/>
              <a:t>What they are and a simple comparison between them</a:t>
            </a:r>
          </a:p>
        </p:txBody>
      </p:sp>
      <p:sp>
        <p:nvSpPr>
          <p:cNvPr id="202" name="Google Shape;202;p31"/>
          <p:cNvSpPr txBox="1">
            <a:spLocks noGrp="1"/>
          </p:cNvSpPr>
          <p:nvPr>
            <p:ph type="title" idx="6"/>
          </p:nvPr>
        </p:nvSpPr>
        <p:spPr>
          <a:xfrm>
            <a:off x="4696225" y="3453254"/>
            <a:ext cx="5311200" cy="6825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dirty="0" smtClean="0"/>
              <a:t>Interpreted vs Compiled languages</a:t>
            </a:r>
            <a:endParaRPr dirty="0"/>
          </a:p>
        </p:txBody>
      </p:sp>
      <p:sp>
        <p:nvSpPr>
          <p:cNvPr id="203" name="Google Shape;203;p31"/>
          <p:cNvSpPr txBox="1">
            <a:spLocks noGrp="1"/>
          </p:cNvSpPr>
          <p:nvPr>
            <p:ph type="title" idx="7"/>
          </p:nvPr>
        </p:nvSpPr>
        <p:spPr>
          <a:xfrm>
            <a:off x="3372225" y="1518275"/>
            <a:ext cx="1258800" cy="635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dirty="0">
                <a:solidFill>
                  <a:schemeClr val="bg1">
                    <a:lumMod val="85000"/>
                  </a:schemeClr>
                </a:solidFill>
              </a:rPr>
              <a:t>1</a:t>
            </a:r>
            <a:endParaRPr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04" name="Google Shape;204;p31"/>
          <p:cNvSpPr txBox="1">
            <a:spLocks noGrp="1"/>
          </p:cNvSpPr>
          <p:nvPr>
            <p:ph type="title" idx="8"/>
          </p:nvPr>
        </p:nvSpPr>
        <p:spPr>
          <a:xfrm>
            <a:off x="3372225" y="2645500"/>
            <a:ext cx="1258800" cy="635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lvl="0"/>
            <a:r>
              <a:rPr lang="es" dirty="0" smtClean="0">
                <a:solidFill>
                  <a:schemeClr val="bg1"/>
                </a:solidFill>
              </a:rPr>
              <a:t>2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205" name="Google Shape;205;p31"/>
          <p:cNvSpPr txBox="1">
            <a:spLocks noGrp="1"/>
          </p:cNvSpPr>
          <p:nvPr>
            <p:ph type="title" idx="9"/>
          </p:nvPr>
        </p:nvSpPr>
        <p:spPr>
          <a:xfrm>
            <a:off x="3372225" y="3772725"/>
            <a:ext cx="1258800" cy="635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/>
              <a:t>3</a:t>
            </a:r>
            <a:endParaRPr/>
          </a:p>
        </p:txBody>
      </p:sp>
      <p:grpSp>
        <p:nvGrpSpPr>
          <p:cNvPr id="13" name="Check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2922691" y="2651983"/>
            <a:ext cx="573617" cy="542925"/>
            <a:chOff x="2875" y="1062"/>
            <a:chExt cx="2168" cy="2052"/>
          </a:xfrm>
          <a:solidFill>
            <a:schemeClr val="accent1"/>
          </a:solidFill>
        </p:grpSpPr>
        <p:sp>
          <p:nvSpPr>
            <p:cNvPr id="14" name="Freeform 240"/>
            <p:cNvSpPr>
              <a:spLocks/>
            </p:cNvSpPr>
            <p:nvPr/>
          </p:nvSpPr>
          <p:spPr bwMode="auto">
            <a:xfrm>
              <a:off x="3276" y="1062"/>
              <a:ext cx="1767" cy="1523"/>
            </a:xfrm>
            <a:custGeom>
              <a:avLst/>
              <a:gdLst>
                <a:gd name="T0" fmla="*/ 407 w 445"/>
                <a:gd name="T1" fmla="*/ 0 h 383"/>
                <a:gd name="T2" fmla="*/ 389 w 445"/>
                <a:gd name="T3" fmla="*/ 5 h 383"/>
                <a:gd name="T4" fmla="*/ 134 w 445"/>
                <a:gd name="T5" fmla="*/ 287 h 383"/>
                <a:gd name="T6" fmla="*/ 64 w 445"/>
                <a:gd name="T7" fmla="*/ 196 h 383"/>
                <a:gd name="T8" fmla="*/ 38 w 445"/>
                <a:gd name="T9" fmla="*/ 183 h 383"/>
                <a:gd name="T10" fmla="*/ 18 w 445"/>
                <a:gd name="T11" fmla="*/ 190 h 383"/>
                <a:gd name="T12" fmla="*/ 11 w 445"/>
                <a:gd name="T13" fmla="*/ 237 h 383"/>
                <a:gd name="T14" fmla="*/ 113 w 445"/>
                <a:gd name="T15" fmla="*/ 370 h 383"/>
                <a:gd name="T16" fmla="*/ 140 w 445"/>
                <a:gd name="T17" fmla="*/ 383 h 383"/>
                <a:gd name="T18" fmla="*/ 144 w 445"/>
                <a:gd name="T19" fmla="*/ 383 h 383"/>
                <a:gd name="T20" fmla="*/ 170 w 445"/>
                <a:gd name="T21" fmla="*/ 363 h 383"/>
                <a:gd name="T22" fmla="*/ 425 w 445"/>
                <a:gd name="T23" fmla="*/ 61 h 383"/>
                <a:gd name="T24" fmla="*/ 435 w 445"/>
                <a:gd name="T25" fmla="*/ 15 h 383"/>
                <a:gd name="T26" fmla="*/ 407 w 445"/>
                <a:gd name="T27" fmla="*/ 0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5" h="383">
                  <a:moveTo>
                    <a:pt x="407" y="0"/>
                  </a:moveTo>
                  <a:cubicBezTo>
                    <a:pt x="401" y="0"/>
                    <a:pt x="395" y="1"/>
                    <a:pt x="389" y="5"/>
                  </a:cubicBezTo>
                  <a:cubicBezTo>
                    <a:pt x="256" y="91"/>
                    <a:pt x="173" y="218"/>
                    <a:pt x="134" y="287"/>
                  </a:cubicBezTo>
                  <a:lnTo>
                    <a:pt x="64" y="196"/>
                  </a:lnTo>
                  <a:cubicBezTo>
                    <a:pt x="58" y="188"/>
                    <a:pt x="48" y="183"/>
                    <a:pt x="38" y="183"/>
                  </a:cubicBezTo>
                  <a:cubicBezTo>
                    <a:pt x="31" y="183"/>
                    <a:pt x="24" y="185"/>
                    <a:pt x="18" y="190"/>
                  </a:cubicBezTo>
                  <a:cubicBezTo>
                    <a:pt x="3" y="201"/>
                    <a:pt x="0" y="222"/>
                    <a:pt x="11" y="237"/>
                  </a:cubicBezTo>
                  <a:lnTo>
                    <a:pt x="113" y="370"/>
                  </a:lnTo>
                  <a:cubicBezTo>
                    <a:pt x="120" y="378"/>
                    <a:pt x="130" y="383"/>
                    <a:pt x="140" y="383"/>
                  </a:cubicBezTo>
                  <a:cubicBezTo>
                    <a:pt x="141" y="383"/>
                    <a:pt x="143" y="383"/>
                    <a:pt x="144" y="383"/>
                  </a:cubicBezTo>
                  <a:cubicBezTo>
                    <a:pt x="156" y="381"/>
                    <a:pt x="166" y="374"/>
                    <a:pt x="170" y="363"/>
                  </a:cubicBezTo>
                  <a:cubicBezTo>
                    <a:pt x="171" y="361"/>
                    <a:pt x="255" y="171"/>
                    <a:pt x="425" y="61"/>
                  </a:cubicBezTo>
                  <a:cubicBezTo>
                    <a:pt x="441" y="51"/>
                    <a:pt x="445" y="30"/>
                    <a:pt x="435" y="15"/>
                  </a:cubicBezTo>
                  <a:cubicBezTo>
                    <a:pt x="429" y="5"/>
                    <a:pt x="418" y="0"/>
                    <a:pt x="407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Freeform 241"/>
            <p:cNvSpPr>
              <a:spLocks/>
            </p:cNvSpPr>
            <p:nvPr/>
          </p:nvSpPr>
          <p:spPr bwMode="auto">
            <a:xfrm>
              <a:off x="2875" y="1261"/>
              <a:ext cx="1854" cy="1853"/>
            </a:xfrm>
            <a:custGeom>
              <a:avLst/>
              <a:gdLst>
                <a:gd name="T0" fmla="*/ 400 w 467"/>
                <a:gd name="T1" fmla="*/ 172 h 466"/>
                <a:gd name="T2" fmla="*/ 400 w 467"/>
                <a:gd name="T3" fmla="*/ 400 h 466"/>
                <a:gd name="T4" fmla="*/ 67 w 467"/>
                <a:gd name="T5" fmla="*/ 400 h 466"/>
                <a:gd name="T6" fmla="*/ 67 w 467"/>
                <a:gd name="T7" fmla="*/ 66 h 466"/>
                <a:gd name="T8" fmla="*/ 315 w 467"/>
                <a:gd name="T9" fmla="*/ 66 h 466"/>
                <a:gd name="T10" fmla="*/ 379 w 467"/>
                <a:gd name="T11" fmla="*/ 0 h 466"/>
                <a:gd name="T12" fmla="*/ 67 w 467"/>
                <a:gd name="T13" fmla="*/ 0 h 466"/>
                <a:gd name="T14" fmla="*/ 0 w 467"/>
                <a:gd name="T15" fmla="*/ 66 h 466"/>
                <a:gd name="T16" fmla="*/ 0 w 467"/>
                <a:gd name="T17" fmla="*/ 400 h 466"/>
                <a:gd name="T18" fmla="*/ 67 w 467"/>
                <a:gd name="T19" fmla="*/ 466 h 466"/>
                <a:gd name="T20" fmla="*/ 400 w 467"/>
                <a:gd name="T21" fmla="*/ 466 h 466"/>
                <a:gd name="T22" fmla="*/ 467 w 467"/>
                <a:gd name="T23" fmla="*/ 400 h 466"/>
                <a:gd name="T24" fmla="*/ 467 w 467"/>
                <a:gd name="T25" fmla="*/ 100 h 466"/>
                <a:gd name="T26" fmla="*/ 400 w 467"/>
                <a:gd name="T27" fmla="*/ 172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67" h="466">
                  <a:moveTo>
                    <a:pt x="400" y="172"/>
                  </a:moveTo>
                  <a:lnTo>
                    <a:pt x="400" y="400"/>
                  </a:lnTo>
                  <a:lnTo>
                    <a:pt x="67" y="400"/>
                  </a:lnTo>
                  <a:lnTo>
                    <a:pt x="67" y="66"/>
                  </a:lnTo>
                  <a:lnTo>
                    <a:pt x="315" y="66"/>
                  </a:lnTo>
                  <a:cubicBezTo>
                    <a:pt x="334" y="44"/>
                    <a:pt x="355" y="22"/>
                    <a:pt x="379" y="0"/>
                  </a:cubicBezTo>
                  <a:lnTo>
                    <a:pt x="67" y="0"/>
                  </a:lnTo>
                  <a:cubicBezTo>
                    <a:pt x="30" y="0"/>
                    <a:pt x="0" y="30"/>
                    <a:pt x="0" y="66"/>
                  </a:cubicBezTo>
                  <a:lnTo>
                    <a:pt x="0" y="400"/>
                  </a:lnTo>
                  <a:cubicBezTo>
                    <a:pt x="0" y="436"/>
                    <a:pt x="30" y="466"/>
                    <a:pt x="67" y="466"/>
                  </a:cubicBezTo>
                  <a:lnTo>
                    <a:pt x="400" y="466"/>
                  </a:lnTo>
                  <a:cubicBezTo>
                    <a:pt x="437" y="466"/>
                    <a:pt x="467" y="436"/>
                    <a:pt x="467" y="400"/>
                  </a:cubicBezTo>
                  <a:lnTo>
                    <a:pt x="467" y="100"/>
                  </a:lnTo>
                  <a:cubicBezTo>
                    <a:pt x="442" y="124"/>
                    <a:pt x="419" y="148"/>
                    <a:pt x="400" y="17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70355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6" name="Google Shape;246;p37"/>
          <p:cNvSpPr txBox="1">
            <a:spLocks noGrp="1"/>
          </p:cNvSpPr>
          <p:nvPr>
            <p:ph type="title" idx="4"/>
          </p:nvPr>
        </p:nvSpPr>
        <p:spPr>
          <a:xfrm>
            <a:off x="-11850" y="927075"/>
            <a:ext cx="9144000" cy="48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lvl="0"/>
            <a:r>
              <a:rPr lang="en-US" sz="2400" dirty="0"/>
              <a:t>High level vs low level languages</a:t>
            </a:r>
          </a:p>
        </p:txBody>
      </p:sp>
      <p:sp>
        <p:nvSpPr>
          <p:cNvPr id="247" name="Google Shape;247;p37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" sz="1200">
                <a:latin typeface="Arvo"/>
                <a:ea typeface="Arvo"/>
                <a:cs typeface="Arvo"/>
                <a:sym typeface="Arvo"/>
              </a:rPr>
              <a:t>7</a:t>
            </a:fld>
            <a:endParaRPr sz="1200">
              <a:latin typeface="Arvo"/>
              <a:ea typeface="Arvo"/>
              <a:cs typeface="Arvo"/>
              <a:sym typeface="Arvo"/>
            </a:endParaRPr>
          </a:p>
        </p:txBody>
      </p:sp>
      <p:cxnSp>
        <p:nvCxnSpPr>
          <p:cNvPr id="248" name="Google Shape;248;p37"/>
          <p:cNvCxnSpPr/>
          <p:nvPr/>
        </p:nvCxnSpPr>
        <p:spPr>
          <a:xfrm>
            <a:off x="4550550" y="1941425"/>
            <a:ext cx="0" cy="1927500"/>
          </a:xfrm>
          <a:prstGeom prst="straightConnector1">
            <a:avLst/>
          </a:prstGeom>
          <a:noFill/>
          <a:ln w="38100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249" name="Google Shape;249;p37"/>
          <p:cNvSpPr txBox="1">
            <a:spLocks noGrp="1"/>
          </p:cNvSpPr>
          <p:nvPr>
            <p:ph type="ctrTitle"/>
          </p:nvPr>
        </p:nvSpPr>
        <p:spPr>
          <a:xfrm>
            <a:off x="1113225" y="1496593"/>
            <a:ext cx="3169500" cy="357713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b="0" dirty="0" smtClean="0">
                <a:latin typeface="Ubuntu Medium"/>
                <a:ea typeface="Ubuntu Medium"/>
                <a:cs typeface="Ubuntu Medium"/>
                <a:sym typeface="Ubuntu Medium"/>
              </a:rPr>
              <a:t>High level languages</a:t>
            </a:r>
            <a:endParaRPr dirty="0"/>
          </a:p>
        </p:txBody>
      </p:sp>
      <p:sp>
        <p:nvSpPr>
          <p:cNvPr id="250" name="Google Shape;250;p37"/>
          <p:cNvSpPr txBox="1">
            <a:spLocks noGrp="1"/>
          </p:cNvSpPr>
          <p:nvPr>
            <p:ph type="subTitle" idx="1"/>
          </p:nvPr>
        </p:nvSpPr>
        <p:spPr>
          <a:xfrm>
            <a:off x="1113224" y="1854306"/>
            <a:ext cx="3235751" cy="2035682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342900" lvl="0" indent="-34290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s" dirty="0" smtClean="0">
                <a:solidFill>
                  <a:schemeClr val="tx1">
                    <a:lumMod val="25000"/>
                  </a:schemeClr>
                </a:solidFill>
              </a:rPr>
              <a:t>Closer to our understanding</a:t>
            </a:r>
          </a:p>
          <a:p>
            <a:pPr marL="342900" lvl="0" indent="-34290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s" dirty="0" smtClean="0">
                <a:solidFill>
                  <a:schemeClr val="tx1">
                    <a:lumMod val="25000"/>
                  </a:schemeClr>
                </a:solidFill>
              </a:rPr>
              <a:t>Easier to work with </a:t>
            </a:r>
          </a:p>
          <a:p>
            <a:pPr marL="342900" lvl="0" indent="-34290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s" dirty="0" smtClean="0">
                <a:solidFill>
                  <a:schemeClr val="tx1">
                    <a:lumMod val="25000"/>
                  </a:schemeClr>
                </a:solidFill>
              </a:rPr>
              <a:t>Slower because Must be translated to low level languages</a:t>
            </a:r>
          </a:p>
          <a:p>
            <a:pPr marL="342900" lvl="0" indent="-34290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s" dirty="0" smtClean="0">
                <a:solidFill>
                  <a:schemeClr val="tx1">
                    <a:lumMod val="25000"/>
                  </a:schemeClr>
                </a:solidFill>
              </a:rPr>
              <a:t>Java, C++, Python and etc.</a:t>
            </a:r>
            <a:endParaRPr lang="es" dirty="0">
              <a:solidFill>
                <a:schemeClr val="tx1">
                  <a:lumMod val="25000"/>
                </a:schemeClr>
              </a:solidFill>
            </a:endParaRPr>
          </a:p>
          <a:p>
            <a:pPr marL="342900" lvl="0" indent="-34290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s" dirty="0" smtClean="0">
                <a:solidFill>
                  <a:schemeClr val="tx1">
                    <a:lumMod val="25000"/>
                  </a:schemeClr>
                </a:solidFill>
              </a:rPr>
              <a:t>They’re divided to two groups</a:t>
            </a: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" dirty="0" smtClean="0">
                <a:solidFill>
                  <a:schemeClr val="tx1">
                    <a:lumMod val="25000"/>
                  </a:schemeClr>
                </a:solidFill>
              </a:rPr>
              <a:t>Interpreted languages</a:t>
            </a: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" dirty="0" smtClean="0">
                <a:solidFill>
                  <a:schemeClr val="tx1">
                    <a:lumMod val="25000"/>
                  </a:schemeClr>
                </a:solidFill>
              </a:rPr>
              <a:t>Compiled languages</a:t>
            </a: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s" dirty="0">
              <a:solidFill>
                <a:schemeClr val="tx1">
                  <a:lumMod val="25000"/>
                </a:schemeClr>
              </a:solidFill>
            </a:endParaRPr>
          </a:p>
          <a:p>
            <a:pPr marL="3657600" lvl="8" indent="0">
              <a:lnSpc>
                <a:spcPct val="150000"/>
              </a:lnSpc>
            </a:pPr>
            <a:endParaRPr lang="es" dirty="0" smtClean="0">
              <a:solidFill>
                <a:schemeClr val="tx1">
                  <a:lumMod val="25000"/>
                </a:schemeClr>
              </a:solidFill>
            </a:endParaRPr>
          </a:p>
        </p:txBody>
      </p:sp>
      <p:sp>
        <p:nvSpPr>
          <p:cNvPr id="251" name="Google Shape;251;p37"/>
          <p:cNvSpPr txBox="1">
            <a:spLocks noGrp="1"/>
          </p:cNvSpPr>
          <p:nvPr>
            <p:ph type="ctrTitle" idx="2"/>
          </p:nvPr>
        </p:nvSpPr>
        <p:spPr>
          <a:xfrm>
            <a:off x="4818375" y="1496593"/>
            <a:ext cx="3169500" cy="357714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dirty="0" smtClean="0"/>
              <a:t>Low level languages</a:t>
            </a:r>
            <a:endParaRPr dirty="0"/>
          </a:p>
        </p:txBody>
      </p:sp>
      <p:sp>
        <p:nvSpPr>
          <p:cNvPr id="252" name="Google Shape;252;p37"/>
          <p:cNvSpPr txBox="1">
            <a:spLocks noGrp="1"/>
          </p:cNvSpPr>
          <p:nvPr>
            <p:ph type="subTitle" idx="3"/>
          </p:nvPr>
        </p:nvSpPr>
        <p:spPr>
          <a:xfrm>
            <a:off x="4818375" y="1854306"/>
            <a:ext cx="3101400" cy="2122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en-US" dirty="0">
                <a:solidFill>
                  <a:schemeClr val="tx1">
                    <a:lumMod val="25000"/>
                  </a:schemeClr>
                </a:solidFill>
              </a:rPr>
              <a:t>mostly describes machine’s </a:t>
            </a:r>
            <a:r>
              <a:rPr lang="en-US" dirty="0" smtClean="0">
                <a:solidFill>
                  <a:schemeClr val="tx1">
                    <a:lumMod val="25000"/>
                  </a:schemeClr>
                </a:solidFill>
              </a:rPr>
              <a:t>functionality</a:t>
            </a:r>
            <a:endParaRPr lang="en-US" dirty="0">
              <a:solidFill>
                <a:schemeClr val="tx1">
                  <a:lumMod val="25000"/>
                </a:schemeClr>
              </a:solidFill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en-US" dirty="0">
                <a:solidFill>
                  <a:schemeClr val="tx1">
                    <a:lumMod val="25000"/>
                  </a:schemeClr>
                </a:solidFill>
              </a:rPr>
              <a:t>Assembly or any machine’s </a:t>
            </a:r>
            <a:r>
              <a:rPr lang="en-US" dirty="0" smtClean="0">
                <a:solidFill>
                  <a:schemeClr val="tx1">
                    <a:lumMod val="25000"/>
                  </a:schemeClr>
                </a:solidFill>
              </a:rPr>
              <a:t>code.</a:t>
            </a:r>
            <a:endParaRPr lang="es" dirty="0" smtClean="0">
              <a:solidFill>
                <a:schemeClr val="tx1">
                  <a:lumMod val="2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5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5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5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5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5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5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25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5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0" grpId="0" build="p"/>
      <p:bldP spid="252" grpId="0" build="p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" name="Google Shape;195;p31"/>
          <p:cNvSpPr txBox="1">
            <a:spLocks noGrp="1"/>
          </p:cNvSpPr>
          <p:nvPr>
            <p:ph type="title"/>
          </p:nvPr>
        </p:nvSpPr>
        <p:spPr>
          <a:xfrm>
            <a:off x="4698275" y="189950"/>
            <a:ext cx="5311200" cy="11145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/>
              <a:t>Contents</a:t>
            </a:r>
            <a:endParaRPr/>
          </a:p>
        </p:txBody>
      </p:sp>
      <p:sp>
        <p:nvSpPr>
          <p:cNvPr id="196" name="Google Shape;196;p31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fld id="{00000000-1234-1234-1234-123412341234}" type="slidenum">
              <a:rPr lang="es"/>
              <a:t>8</a:t>
            </a:fld>
            <a:endParaRPr/>
          </a:p>
        </p:txBody>
      </p:sp>
      <p:sp>
        <p:nvSpPr>
          <p:cNvPr id="197" name="Google Shape;197;p31"/>
          <p:cNvSpPr txBox="1">
            <a:spLocks noGrp="1"/>
          </p:cNvSpPr>
          <p:nvPr>
            <p:ph type="title" idx="2"/>
          </p:nvPr>
        </p:nvSpPr>
        <p:spPr>
          <a:xfrm>
            <a:off x="4696225" y="1198788"/>
            <a:ext cx="5311200" cy="6825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 smtClean="0"/>
              <a:t>What is a programming language?</a:t>
            </a:r>
            <a:endParaRPr dirty="0"/>
          </a:p>
        </p:txBody>
      </p:sp>
      <p:sp>
        <p:nvSpPr>
          <p:cNvPr id="198" name="Google Shape;198;p31"/>
          <p:cNvSpPr txBox="1">
            <a:spLocks noGrp="1"/>
          </p:cNvSpPr>
          <p:nvPr>
            <p:ph type="subTitle" idx="3"/>
          </p:nvPr>
        </p:nvSpPr>
        <p:spPr>
          <a:xfrm>
            <a:off x="4696224" y="2836672"/>
            <a:ext cx="3367200" cy="578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indent="0"/>
            <a:r>
              <a:rPr lang="en-US" i="1" dirty="0" smtClean="0"/>
              <a:t>What they are and a simple comparison between them</a:t>
            </a:r>
            <a:endParaRPr lang="en-US" i="1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99" name="Google Shape;199;p31"/>
          <p:cNvSpPr txBox="1">
            <a:spLocks noGrp="1"/>
          </p:cNvSpPr>
          <p:nvPr>
            <p:ph type="title" idx="4"/>
          </p:nvPr>
        </p:nvSpPr>
        <p:spPr>
          <a:xfrm>
            <a:off x="4696225" y="2326013"/>
            <a:ext cx="5311200" cy="6825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dirty="0" smtClean="0"/>
              <a:t>High level vs Low level languages</a:t>
            </a:r>
            <a:endParaRPr dirty="0"/>
          </a:p>
        </p:txBody>
      </p:sp>
      <p:sp>
        <p:nvSpPr>
          <p:cNvPr id="200" name="Google Shape;200;p31"/>
          <p:cNvSpPr txBox="1">
            <a:spLocks noGrp="1"/>
          </p:cNvSpPr>
          <p:nvPr>
            <p:ph type="subTitle" idx="1"/>
          </p:nvPr>
        </p:nvSpPr>
        <p:spPr>
          <a:xfrm>
            <a:off x="4696224" y="1709442"/>
            <a:ext cx="3367200" cy="578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i="1" dirty="0" smtClean="0">
                <a:solidFill>
                  <a:schemeClr val="bg1">
                    <a:lumMod val="50000"/>
                  </a:schemeClr>
                </a:solidFill>
              </a:rPr>
              <a:t>A very simple description of what programming languages are</a:t>
            </a:r>
            <a:endParaRPr i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01" name="Google Shape;201;p31"/>
          <p:cNvSpPr txBox="1">
            <a:spLocks noGrp="1"/>
          </p:cNvSpPr>
          <p:nvPr>
            <p:ph type="subTitle" idx="5"/>
          </p:nvPr>
        </p:nvSpPr>
        <p:spPr>
          <a:xfrm>
            <a:off x="4696224" y="3967490"/>
            <a:ext cx="3367200" cy="578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indent="0"/>
            <a:r>
              <a:rPr lang="en-US" i="1" dirty="0"/>
              <a:t>What they are and a simple comparison between them</a:t>
            </a:r>
          </a:p>
        </p:txBody>
      </p:sp>
      <p:sp>
        <p:nvSpPr>
          <p:cNvPr id="202" name="Google Shape;202;p31"/>
          <p:cNvSpPr txBox="1">
            <a:spLocks noGrp="1"/>
          </p:cNvSpPr>
          <p:nvPr>
            <p:ph type="title" idx="6"/>
          </p:nvPr>
        </p:nvSpPr>
        <p:spPr>
          <a:xfrm>
            <a:off x="4696225" y="3453254"/>
            <a:ext cx="5311200" cy="6825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dirty="0" smtClean="0">
                <a:solidFill>
                  <a:schemeClr val="bg1">
                    <a:lumMod val="50000"/>
                  </a:schemeClr>
                </a:solidFill>
              </a:rPr>
              <a:t>Interpreted vs Compiled languages</a:t>
            </a:r>
            <a:endParaRPr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03" name="Google Shape;203;p31"/>
          <p:cNvSpPr txBox="1">
            <a:spLocks noGrp="1"/>
          </p:cNvSpPr>
          <p:nvPr>
            <p:ph type="title" idx="7"/>
          </p:nvPr>
        </p:nvSpPr>
        <p:spPr>
          <a:xfrm>
            <a:off x="3372225" y="1518275"/>
            <a:ext cx="1258800" cy="635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dirty="0">
                <a:solidFill>
                  <a:schemeClr val="bg1">
                    <a:lumMod val="85000"/>
                  </a:schemeClr>
                </a:solidFill>
              </a:rPr>
              <a:t>1</a:t>
            </a:r>
            <a:endParaRPr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04" name="Google Shape;204;p31"/>
          <p:cNvSpPr txBox="1">
            <a:spLocks noGrp="1"/>
          </p:cNvSpPr>
          <p:nvPr>
            <p:ph type="title" idx="8"/>
          </p:nvPr>
        </p:nvSpPr>
        <p:spPr>
          <a:xfrm>
            <a:off x="3372225" y="2645500"/>
            <a:ext cx="1258800" cy="635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lvl="0"/>
            <a:r>
              <a:rPr lang="es" dirty="0" smtClean="0"/>
              <a:t>2</a:t>
            </a:r>
            <a:endParaRPr dirty="0"/>
          </a:p>
        </p:txBody>
      </p:sp>
      <p:sp>
        <p:nvSpPr>
          <p:cNvPr id="205" name="Google Shape;205;p31"/>
          <p:cNvSpPr txBox="1">
            <a:spLocks noGrp="1"/>
          </p:cNvSpPr>
          <p:nvPr>
            <p:ph type="title" idx="9"/>
          </p:nvPr>
        </p:nvSpPr>
        <p:spPr>
          <a:xfrm>
            <a:off x="3372225" y="3772725"/>
            <a:ext cx="1258800" cy="635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s" dirty="0">
                <a:solidFill>
                  <a:schemeClr val="bg1"/>
                </a:solidFill>
              </a:rPr>
              <a:t>3</a:t>
            </a:r>
            <a:endParaRPr dirty="0">
              <a:solidFill>
                <a:schemeClr val="bg1"/>
              </a:solidFill>
            </a:endParaRPr>
          </a:p>
        </p:txBody>
      </p:sp>
      <p:grpSp>
        <p:nvGrpSpPr>
          <p:cNvPr id="13" name="Check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2922691" y="3819112"/>
            <a:ext cx="573617" cy="542925"/>
            <a:chOff x="2875" y="1062"/>
            <a:chExt cx="2168" cy="2052"/>
          </a:xfrm>
          <a:solidFill>
            <a:schemeClr val="accent1"/>
          </a:solidFill>
        </p:grpSpPr>
        <p:sp>
          <p:nvSpPr>
            <p:cNvPr id="14" name="Freeform 240"/>
            <p:cNvSpPr>
              <a:spLocks/>
            </p:cNvSpPr>
            <p:nvPr/>
          </p:nvSpPr>
          <p:spPr bwMode="auto">
            <a:xfrm>
              <a:off x="3276" y="1062"/>
              <a:ext cx="1767" cy="1523"/>
            </a:xfrm>
            <a:custGeom>
              <a:avLst/>
              <a:gdLst>
                <a:gd name="T0" fmla="*/ 407 w 445"/>
                <a:gd name="T1" fmla="*/ 0 h 383"/>
                <a:gd name="T2" fmla="*/ 389 w 445"/>
                <a:gd name="T3" fmla="*/ 5 h 383"/>
                <a:gd name="T4" fmla="*/ 134 w 445"/>
                <a:gd name="T5" fmla="*/ 287 h 383"/>
                <a:gd name="T6" fmla="*/ 64 w 445"/>
                <a:gd name="T7" fmla="*/ 196 h 383"/>
                <a:gd name="T8" fmla="*/ 38 w 445"/>
                <a:gd name="T9" fmla="*/ 183 h 383"/>
                <a:gd name="T10" fmla="*/ 18 w 445"/>
                <a:gd name="T11" fmla="*/ 190 h 383"/>
                <a:gd name="T12" fmla="*/ 11 w 445"/>
                <a:gd name="T13" fmla="*/ 237 h 383"/>
                <a:gd name="T14" fmla="*/ 113 w 445"/>
                <a:gd name="T15" fmla="*/ 370 h 383"/>
                <a:gd name="T16" fmla="*/ 140 w 445"/>
                <a:gd name="T17" fmla="*/ 383 h 383"/>
                <a:gd name="T18" fmla="*/ 144 w 445"/>
                <a:gd name="T19" fmla="*/ 383 h 383"/>
                <a:gd name="T20" fmla="*/ 170 w 445"/>
                <a:gd name="T21" fmla="*/ 363 h 383"/>
                <a:gd name="T22" fmla="*/ 425 w 445"/>
                <a:gd name="T23" fmla="*/ 61 h 383"/>
                <a:gd name="T24" fmla="*/ 435 w 445"/>
                <a:gd name="T25" fmla="*/ 15 h 383"/>
                <a:gd name="T26" fmla="*/ 407 w 445"/>
                <a:gd name="T27" fmla="*/ 0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5" h="383">
                  <a:moveTo>
                    <a:pt x="407" y="0"/>
                  </a:moveTo>
                  <a:cubicBezTo>
                    <a:pt x="401" y="0"/>
                    <a:pt x="395" y="1"/>
                    <a:pt x="389" y="5"/>
                  </a:cubicBezTo>
                  <a:cubicBezTo>
                    <a:pt x="256" y="91"/>
                    <a:pt x="173" y="218"/>
                    <a:pt x="134" y="287"/>
                  </a:cubicBezTo>
                  <a:lnTo>
                    <a:pt x="64" y="196"/>
                  </a:lnTo>
                  <a:cubicBezTo>
                    <a:pt x="58" y="188"/>
                    <a:pt x="48" y="183"/>
                    <a:pt x="38" y="183"/>
                  </a:cubicBezTo>
                  <a:cubicBezTo>
                    <a:pt x="31" y="183"/>
                    <a:pt x="24" y="185"/>
                    <a:pt x="18" y="190"/>
                  </a:cubicBezTo>
                  <a:cubicBezTo>
                    <a:pt x="3" y="201"/>
                    <a:pt x="0" y="222"/>
                    <a:pt x="11" y="237"/>
                  </a:cubicBezTo>
                  <a:lnTo>
                    <a:pt x="113" y="370"/>
                  </a:lnTo>
                  <a:cubicBezTo>
                    <a:pt x="120" y="378"/>
                    <a:pt x="130" y="383"/>
                    <a:pt x="140" y="383"/>
                  </a:cubicBezTo>
                  <a:cubicBezTo>
                    <a:pt x="141" y="383"/>
                    <a:pt x="143" y="383"/>
                    <a:pt x="144" y="383"/>
                  </a:cubicBezTo>
                  <a:cubicBezTo>
                    <a:pt x="156" y="381"/>
                    <a:pt x="166" y="374"/>
                    <a:pt x="170" y="363"/>
                  </a:cubicBezTo>
                  <a:cubicBezTo>
                    <a:pt x="171" y="361"/>
                    <a:pt x="255" y="171"/>
                    <a:pt x="425" y="61"/>
                  </a:cubicBezTo>
                  <a:cubicBezTo>
                    <a:pt x="441" y="51"/>
                    <a:pt x="445" y="30"/>
                    <a:pt x="435" y="15"/>
                  </a:cubicBezTo>
                  <a:cubicBezTo>
                    <a:pt x="429" y="5"/>
                    <a:pt x="418" y="0"/>
                    <a:pt x="407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Freeform 241"/>
            <p:cNvSpPr>
              <a:spLocks/>
            </p:cNvSpPr>
            <p:nvPr/>
          </p:nvSpPr>
          <p:spPr bwMode="auto">
            <a:xfrm>
              <a:off x="2875" y="1261"/>
              <a:ext cx="1854" cy="1853"/>
            </a:xfrm>
            <a:custGeom>
              <a:avLst/>
              <a:gdLst>
                <a:gd name="T0" fmla="*/ 400 w 467"/>
                <a:gd name="T1" fmla="*/ 172 h 466"/>
                <a:gd name="T2" fmla="*/ 400 w 467"/>
                <a:gd name="T3" fmla="*/ 400 h 466"/>
                <a:gd name="T4" fmla="*/ 67 w 467"/>
                <a:gd name="T5" fmla="*/ 400 h 466"/>
                <a:gd name="T6" fmla="*/ 67 w 467"/>
                <a:gd name="T7" fmla="*/ 66 h 466"/>
                <a:gd name="T8" fmla="*/ 315 w 467"/>
                <a:gd name="T9" fmla="*/ 66 h 466"/>
                <a:gd name="T10" fmla="*/ 379 w 467"/>
                <a:gd name="T11" fmla="*/ 0 h 466"/>
                <a:gd name="T12" fmla="*/ 67 w 467"/>
                <a:gd name="T13" fmla="*/ 0 h 466"/>
                <a:gd name="T14" fmla="*/ 0 w 467"/>
                <a:gd name="T15" fmla="*/ 66 h 466"/>
                <a:gd name="T16" fmla="*/ 0 w 467"/>
                <a:gd name="T17" fmla="*/ 400 h 466"/>
                <a:gd name="T18" fmla="*/ 67 w 467"/>
                <a:gd name="T19" fmla="*/ 466 h 466"/>
                <a:gd name="T20" fmla="*/ 400 w 467"/>
                <a:gd name="T21" fmla="*/ 466 h 466"/>
                <a:gd name="T22" fmla="*/ 467 w 467"/>
                <a:gd name="T23" fmla="*/ 400 h 466"/>
                <a:gd name="T24" fmla="*/ 467 w 467"/>
                <a:gd name="T25" fmla="*/ 100 h 466"/>
                <a:gd name="T26" fmla="*/ 400 w 467"/>
                <a:gd name="T27" fmla="*/ 172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67" h="466">
                  <a:moveTo>
                    <a:pt x="400" y="172"/>
                  </a:moveTo>
                  <a:lnTo>
                    <a:pt x="400" y="400"/>
                  </a:lnTo>
                  <a:lnTo>
                    <a:pt x="67" y="400"/>
                  </a:lnTo>
                  <a:lnTo>
                    <a:pt x="67" y="66"/>
                  </a:lnTo>
                  <a:lnTo>
                    <a:pt x="315" y="66"/>
                  </a:lnTo>
                  <a:cubicBezTo>
                    <a:pt x="334" y="44"/>
                    <a:pt x="355" y="22"/>
                    <a:pt x="379" y="0"/>
                  </a:cubicBezTo>
                  <a:lnTo>
                    <a:pt x="67" y="0"/>
                  </a:lnTo>
                  <a:cubicBezTo>
                    <a:pt x="30" y="0"/>
                    <a:pt x="0" y="30"/>
                    <a:pt x="0" y="66"/>
                  </a:cubicBezTo>
                  <a:lnTo>
                    <a:pt x="0" y="400"/>
                  </a:lnTo>
                  <a:cubicBezTo>
                    <a:pt x="0" y="436"/>
                    <a:pt x="30" y="466"/>
                    <a:pt x="67" y="466"/>
                  </a:cubicBezTo>
                  <a:lnTo>
                    <a:pt x="400" y="466"/>
                  </a:lnTo>
                  <a:cubicBezTo>
                    <a:pt x="437" y="466"/>
                    <a:pt x="467" y="436"/>
                    <a:pt x="467" y="400"/>
                  </a:cubicBezTo>
                  <a:lnTo>
                    <a:pt x="467" y="100"/>
                  </a:lnTo>
                  <a:cubicBezTo>
                    <a:pt x="442" y="124"/>
                    <a:pt x="419" y="148"/>
                    <a:pt x="400" y="17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539575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" name="Google Shape;239;p36"/>
          <p:cNvSpPr txBox="1">
            <a:spLocks noGrp="1"/>
          </p:cNvSpPr>
          <p:nvPr>
            <p:ph type="body" idx="1"/>
          </p:nvPr>
        </p:nvSpPr>
        <p:spPr>
          <a:xfrm>
            <a:off x="981307" y="1360448"/>
            <a:ext cx="7270595" cy="3233853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85750" indent="-285750" algn="l">
              <a:lnSpc>
                <a:spcPct val="150000"/>
              </a:lnSpc>
            </a:pP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</a:rPr>
              <a:t>A bit vague… </a:t>
            </a: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  <a:sym typeface="Wingdings" panose="05000000000000000000" pitchFamily="2" charset="2"/>
              </a:rPr>
              <a:t> A language can be translated by both methods</a:t>
            </a:r>
          </a:p>
          <a:p>
            <a:pPr marL="285750" indent="-285750" algn="l">
              <a:lnSpc>
                <a:spcPct val="150000"/>
              </a:lnSpc>
            </a:pP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  <a:sym typeface="Wingdings" panose="05000000000000000000" pitchFamily="2" charset="2"/>
              </a:rPr>
              <a:t>Each language  originally designed to be translated by one of them</a:t>
            </a:r>
          </a:p>
          <a:p>
            <a:pPr marL="285750" indent="-285750" algn="l">
              <a:lnSpc>
                <a:spcPct val="150000"/>
              </a:lnSpc>
            </a:pP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  <a:sym typeface="Wingdings" panose="05000000000000000000" pitchFamily="2" charset="2"/>
              </a:rPr>
              <a:t>Both high level</a:t>
            </a:r>
          </a:p>
          <a:p>
            <a:pPr marL="285750" indent="-285750" algn="l">
              <a:lnSpc>
                <a:spcPct val="150000"/>
              </a:lnSpc>
            </a:pP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  <a:sym typeface="Wingdings" panose="05000000000000000000" pitchFamily="2" charset="2"/>
              </a:rPr>
              <a:t>In a compiled language:</a:t>
            </a:r>
          </a:p>
          <a:p>
            <a:pPr marL="742950" lvl="1" indent="-285750" algn="l">
              <a:lnSpc>
                <a:spcPct val="150000"/>
              </a:lnSpc>
            </a:pP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</a:rPr>
              <a:t>The </a:t>
            </a:r>
            <a:r>
              <a:rPr lang="en-US" sz="1500" dirty="0">
                <a:solidFill>
                  <a:schemeClr val="tx1">
                    <a:lumMod val="25000"/>
                  </a:schemeClr>
                </a:solidFill>
              </a:rPr>
              <a:t>target machine </a:t>
            </a:r>
            <a:r>
              <a:rPr lang="en-US" sz="1500" u="sng" dirty="0">
                <a:solidFill>
                  <a:schemeClr val="tx1">
                    <a:lumMod val="25000"/>
                  </a:schemeClr>
                </a:solidFill>
              </a:rPr>
              <a:t>directly</a:t>
            </a:r>
            <a:r>
              <a:rPr lang="en-US" sz="1500" dirty="0">
                <a:solidFill>
                  <a:schemeClr val="tx1">
                    <a:lumMod val="25000"/>
                  </a:schemeClr>
                </a:solidFill>
              </a:rPr>
              <a:t> translates the </a:t>
            </a: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</a:rPr>
              <a:t>program</a:t>
            </a:r>
            <a:endParaRPr lang="en-US" sz="1500" dirty="0" smtClean="0">
              <a:solidFill>
                <a:schemeClr val="tx1">
                  <a:lumMod val="25000"/>
                </a:schemeClr>
              </a:solidFill>
              <a:sym typeface="Wingdings" panose="05000000000000000000" pitchFamily="2" charset="2"/>
            </a:endParaRPr>
          </a:p>
          <a:p>
            <a:pPr marL="285750" indent="-285750" algn="l">
              <a:lnSpc>
                <a:spcPct val="150000"/>
              </a:lnSpc>
            </a:pP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  <a:sym typeface="Wingdings" panose="05000000000000000000" pitchFamily="2" charset="2"/>
              </a:rPr>
              <a:t>In an interpreted language:</a:t>
            </a:r>
          </a:p>
          <a:p>
            <a:pPr marL="742950" lvl="1" indent="-285750" algn="l">
              <a:lnSpc>
                <a:spcPct val="150000"/>
              </a:lnSpc>
            </a:pPr>
            <a:r>
              <a:rPr lang="en-US" sz="1500" dirty="0">
                <a:solidFill>
                  <a:schemeClr val="tx1">
                    <a:lumMod val="25000"/>
                  </a:schemeClr>
                </a:solidFill>
                <a:sym typeface="Wingdings" panose="05000000000000000000" pitchFamily="2" charset="2"/>
              </a:rPr>
              <a:t>The source code is </a:t>
            </a:r>
            <a:r>
              <a:rPr lang="en-US" sz="1500" u="sng" dirty="0">
                <a:solidFill>
                  <a:schemeClr val="tx1">
                    <a:lumMod val="25000"/>
                  </a:schemeClr>
                </a:solidFill>
                <a:sym typeface="Wingdings" panose="05000000000000000000" pitchFamily="2" charset="2"/>
              </a:rPr>
              <a:t>not directly </a:t>
            </a:r>
            <a:r>
              <a:rPr lang="en-US" sz="1500" dirty="0">
                <a:solidFill>
                  <a:schemeClr val="tx1">
                    <a:lumMod val="25000"/>
                  </a:schemeClr>
                </a:solidFill>
                <a:sym typeface="Wingdings" panose="05000000000000000000" pitchFamily="2" charset="2"/>
              </a:rPr>
              <a:t>translated</a:t>
            </a:r>
          </a:p>
          <a:p>
            <a:pPr marL="742950" lvl="1" indent="-285750" algn="l">
              <a:lnSpc>
                <a:spcPct val="150000"/>
              </a:lnSpc>
            </a:pPr>
            <a:r>
              <a:rPr lang="en-US" sz="1500" dirty="0">
                <a:solidFill>
                  <a:schemeClr val="tx1">
                    <a:lumMod val="25000"/>
                  </a:schemeClr>
                </a:solidFill>
                <a:sym typeface="Wingdings" panose="05000000000000000000" pitchFamily="2" charset="2"/>
              </a:rPr>
              <a:t>Another program, aka the interpreter, reads and executes the </a:t>
            </a: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  <a:sym typeface="Wingdings" panose="05000000000000000000" pitchFamily="2" charset="2"/>
              </a:rPr>
              <a:t>code</a:t>
            </a:r>
          </a:p>
          <a:p>
            <a:pPr marL="285750" indent="-285750" algn="l">
              <a:lnSpc>
                <a:spcPct val="150000"/>
              </a:lnSpc>
            </a:pPr>
            <a:r>
              <a:rPr lang="en-US" sz="1500" dirty="0" smtClean="0">
                <a:solidFill>
                  <a:schemeClr val="tx1">
                    <a:lumMod val="25000"/>
                  </a:schemeClr>
                </a:solidFill>
                <a:sym typeface="Wingdings" panose="05000000000000000000" pitchFamily="2" charset="2"/>
              </a:rPr>
              <a:t>Ancient Greek translator example</a:t>
            </a:r>
          </a:p>
        </p:txBody>
      </p:sp>
      <p:sp>
        <p:nvSpPr>
          <p:cNvPr id="240" name="Google Shape;240;p36"/>
          <p:cNvSpPr txBox="1">
            <a:spLocks noGrp="1"/>
          </p:cNvSpPr>
          <p:nvPr>
            <p:ph type="title"/>
          </p:nvPr>
        </p:nvSpPr>
        <p:spPr>
          <a:xfrm>
            <a:off x="0" y="216225"/>
            <a:ext cx="9144000" cy="913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sz="2400" dirty="0"/>
              <a:t>Interpreted vs Compiled languages</a:t>
            </a:r>
          </a:p>
        </p:txBody>
      </p:sp>
      <p:sp>
        <p:nvSpPr>
          <p:cNvPr id="241" name="Google Shape;241;p36"/>
          <p:cNvSpPr txBox="1">
            <a:spLocks noGrp="1"/>
          </p:cNvSpPr>
          <p:nvPr>
            <p:ph type="sldNum" idx="12"/>
          </p:nvPr>
        </p:nvSpPr>
        <p:spPr>
          <a:xfrm>
            <a:off x="85486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fld id="{00000000-1234-1234-1234-123412341234}" type="slidenum">
              <a:rPr lang="es"/>
              <a:t>9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4011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3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3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3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3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3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3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3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23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9" grpId="0" build="p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heme/theme1.xml><?xml version="1.0" encoding="utf-8"?>
<a:theme xmlns:a="http://schemas.openxmlformats.org/drawingml/2006/main" name="Minimal Charm">
  <a:themeElements>
    <a:clrScheme name="Custom 46">
      <a:dk1>
        <a:srgbClr val="F2F2F2"/>
      </a:dk1>
      <a:lt1>
        <a:srgbClr val="FFFFFF"/>
      </a:lt1>
      <a:dk2>
        <a:srgbClr val="666666"/>
      </a:dk2>
      <a:lt2>
        <a:srgbClr val="999999"/>
      </a:lt2>
      <a:accent1>
        <a:srgbClr val="30B854"/>
      </a:accent1>
      <a:accent2>
        <a:srgbClr val="BEEECA"/>
      </a:accent2>
      <a:accent3>
        <a:srgbClr val="1F7A37"/>
      </a:accent3>
      <a:accent4>
        <a:srgbClr val="1F7A37"/>
      </a:accent4>
      <a:accent5>
        <a:srgbClr val="135CE7"/>
      </a:accent5>
      <a:accent6>
        <a:srgbClr val="B7C8E9"/>
      </a:accent6>
      <a:hlink>
        <a:srgbClr val="434343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90</TotalTime>
  <Words>450</Words>
  <Application>Microsoft Office PowerPoint</Application>
  <PresentationFormat>On-screen Show (16:9)</PresentationFormat>
  <Paragraphs>88</Paragraphs>
  <Slides>11</Slides>
  <Notes>10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1" baseType="lpstr">
      <vt:lpstr>Bodoni</vt:lpstr>
      <vt:lpstr>Arvo</vt:lpstr>
      <vt:lpstr>Ubuntu Light</vt:lpstr>
      <vt:lpstr>Wingdings</vt:lpstr>
      <vt:lpstr>Ubuntu</vt:lpstr>
      <vt:lpstr>Freestyle Script</vt:lpstr>
      <vt:lpstr>Calibri</vt:lpstr>
      <vt:lpstr>Ubuntu Medium</vt:lpstr>
      <vt:lpstr>Arial</vt:lpstr>
      <vt:lpstr>Minimal Charm</vt:lpstr>
      <vt:lpstr>PowerPoint Presentation</vt:lpstr>
      <vt:lpstr>Welcome!</vt:lpstr>
      <vt:lpstr>PowerPoint Presentation</vt:lpstr>
      <vt:lpstr>Contents</vt:lpstr>
      <vt:lpstr>What is a programming language?</vt:lpstr>
      <vt:lpstr>Contents</vt:lpstr>
      <vt:lpstr>High level vs low level languages</vt:lpstr>
      <vt:lpstr>Contents</vt:lpstr>
      <vt:lpstr>Interpreted vs Compiled languages</vt:lpstr>
      <vt:lpstr>Interpreted vs Compiled language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begins</dc:title>
  <dc:creator>maryam</dc:creator>
  <cp:lastModifiedBy>Maryam Tashvighi</cp:lastModifiedBy>
  <cp:revision>65</cp:revision>
  <dcterms:modified xsi:type="dcterms:W3CDTF">2021-02-08T18:48:07Z</dcterms:modified>
</cp:coreProperties>
</file>